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20"/>
  </p:notesMasterIdLst>
  <p:handoutMasterIdLst>
    <p:handoutMasterId r:id="rId21"/>
  </p:handoutMasterIdLst>
  <p:sldIdLst>
    <p:sldId id="256" r:id="rId3"/>
    <p:sldId id="329" r:id="rId4"/>
    <p:sldId id="333" r:id="rId5"/>
    <p:sldId id="302" r:id="rId6"/>
    <p:sldId id="307" r:id="rId7"/>
    <p:sldId id="337" r:id="rId8"/>
    <p:sldId id="322" r:id="rId9"/>
    <p:sldId id="338" r:id="rId10"/>
    <p:sldId id="326" r:id="rId11"/>
    <p:sldId id="339" r:id="rId12"/>
    <p:sldId id="332" r:id="rId13"/>
    <p:sldId id="330" r:id="rId14"/>
    <p:sldId id="335" r:id="rId15"/>
    <p:sldId id="334" r:id="rId16"/>
    <p:sldId id="336" r:id="rId17"/>
    <p:sldId id="317" r:id="rId18"/>
    <p:sldId id="318" r:id="rId19"/>
  </p:sldIdLst>
  <p:sldSz cx="10693400" cy="7561263"/>
  <p:notesSz cx="6797675" cy="9926638"/>
  <p:defaultTextStyle>
    <a:defPPr>
      <a:defRPr lang="ru-RU"/>
    </a:defPPr>
    <a:lvl1pPr marL="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81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.gusenkov" initials="i" lastIdx="2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A08F"/>
    <a:srgbClr val="106A6A"/>
    <a:srgbClr val="0070C0"/>
    <a:srgbClr val="00B7C0"/>
    <a:srgbClr val="1D68B0"/>
    <a:srgbClr val="008F96"/>
    <a:srgbClr val="0000FF"/>
    <a:srgbClr val="CBBD01"/>
    <a:srgbClr val="6A7A58"/>
    <a:srgbClr val="9E9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85" autoAdjust="0"/>
    <p:restoredTop sz="89759" autoAdjust="0"/>
  </p:normalViewPr>
  <p:slideViewPr>
    <p:cSldViewPr>
      <p:cViewPr varScale="1">
        <p:scale>
          <a:sx n="91" d="100"/>
          <a:sy n="91" d="100"/>
        </p:scale>
        <p:origin x="-1794" y="-114"/>
      </p:cViewPr>
      <p:guideLst>
        <p:guide orient="horz" pos="181"/>
        <p:guide pos="336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-3306" y="-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explosion val="25"/>
          <c:dPt>
            <c:idx val="0"/>
            <c:bubble3D val="0"/>
            <c:spPr>
              <a:solidFill>
                <a:srgbClr val="106A6A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13F-407E-910A-5F41C59DE59C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13F-407E-910A-5F41C59DE59C}"/>
              </c:ext>
            </c:extLst>
          </c:dPt>
          <c:dLbls>
            <c:dLbl>
              <c:idx val="0"/>
              <c:layout>
                <c:manualLayout>
                  <c:x val="4.9854853217165401E-2"/>
                  <c:y val="5.0881715796237639E-2"/>
                </c:manualLayout>
              </c:layout>
              <c:spPr/>
              <c:txPr>
                <a:bodyPr/>
                <a:lstStyle/>
                <a:p>
                  <a:pPr>
                    <a:defRPr sz="2400" b="1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13F-407E-910A-5F41C59DE59C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13F-407E-910A-5F41C59DE5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tx1">
                        <a:lumMod val="50000"/>
                        <a:lumOff val="50000"/>
                      </a:schemeClr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2!$B$5:$B$6</c:f>
              <c:strCache>
                <c:ptCount val="2"/>
                <c:pt idx="0">
                  <c:v>Алнас</c:v>
                </c:pt>
                <c:pt idx="1">
                  <c:v>Другие </c:v>
                </c:pt>
              </c:strCache>
            </c:strRef>
          </c:cat>
          <c:val>
            <c:numRef>
              <c:f>Лист2!$C$5:$C$6</c:f>
              <c:numCache>
                <c:formatCode>0%</c:formatCode>
                <c:ptCount val="2"/>
                <c:pt idx="0">
                  <c:v>0.19</c:v>
                </c:pt>
                <c:pt idx="1">
                  <c:v>0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13F-407E-910A-5F41C59DE5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explosion val="25"/>
          <c:dPt>
            <c:idx val="0"/>
            <c:bubble3D val="0"/>
            <c:explosion val="0"/>
            <c:spPr>
              <a:solidFill>
                <a:srgbClr val="0070C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9ED-420B-A111-79D9E1953554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9ED-420B-A111-79D9E1953554}"/>
              </c:ext>
            </c:extLst>
          </c:dPt>
          <c:dLbls>
            <c:dLbl>
              <c:idx val="0"/>
              <c:layout>
                <c:manualLayout>
                  <c:x val="-0.2427616642783906"/>
                  <c:y val="6.2045096075783103E-2"/>
                </c:manualLayout>
              </c:layout>
              <c:spPr/>
              <c:txPr>
                <a:bodyPr/>
                <a:lstStyle/>
                <a:p>
                  <a:pPr>
                    <a:defRPr sz="24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9ED-420B-A111-79D9E1953554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ED-420B-A111-79D9E19535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 b="1"/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B$3:$B$4</c:f>
              <c:strCache>
                <c:ptCount val="2"/>
                <c:pt idx="0">
                  <c:v>Ижнефтемаш</c:v>
                </c:pt>
                <c:pt idx="1">
                  <c:v>Прочие</c:v>
                </c:pt>
              </c:strCache>
            </c:strRef>
          </c:cat>
          <c:val>
            <c:numRef>
              <c:f>Лист1!$C$3:$C$4</c:f>
              <c:numCache>
                <c:formatCode>0%</c:formatCode>
                <c:ptCount val="2"/>
                <c:pt idx="0">
                  <c:v>0.41</c:v>
                </c:pt>
                <c:pt idx="1">
                  <c:v>0.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9ED-420B-A111-79D9E1953554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807701258360326E-2"/>
          <c:y val="0.15552034068235607"/>
          <c:w val="0.4922666446315927"/>
          <c:h val="0.75462098269315636"/>
        </c:manualLayout>
      </c:layout>
      <c:pieChart>
        <c:varyColors val="1"/>
        <c:ser>
          <c:idx val="0"/>
          <c:order val="0"/>
          <c:explosion val="25"/>
          <c:dPt>
            <c:idx val="0"/>
            <c:bubble3D val="0"/>
            <c:spPr>
              <a:solidFill>
                <a:srgbClr val="3AA08F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BD4-433D-A80F-B8129AE8EB97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BD4-433D-A80F-B8129AE8EB97}"/>
              </c:ext>
            </c:extLst>
          </c:dPt>
          <c:dLbls>
            <c:dLbl>
              <c:idx val="0"/>
              <c:layout>
                <c:manualLayout>
                  <c:x val="7.3423452289005806E-2"/>
                  <c:y val="0.19188587278957375"/>
                </c:manualLayout>
              </c:layout>
              <c:tx>
                <c:rich>
                  <a:bodyPr/>
                  <a:lstStyle/>
                  <a:p>
                    <a:pPr>
                      <a:defRPr sz="2400" b="1">
                        <a:solidFill>
                          <a:srgbClr val="3AA08F"/>
                        </a:solidFill>
                      </a:defRPr>
                    </a:pPr>
                    <a:r>
                      <a:rPr lang="en-US" dirty="0" smtClean="0">
                        <a:solidFill>
                          <a:srgbClr val="3AA08F"/>
                        </a:solidFill>
                      </a:rPr>
                      <a:t>16%</a:t>
                    </a:r>
                    <a:endParaRPr lang="en-US" dirty="0">
                      <a:solidFill>
                        <a:srgbClr val="3AA08F"/>
                      </a:solidFill>
                    </a:endParaRP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D4-433D-A80F-B8129AE8EB97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BD4-433D-A80F-B8129AE8EB9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B$7:$B$8</c:f>
              <c:strCache>
                <c:ptCount val="2"/>
                <c:pt idx="0">
                  <c:v>РС</c:v>
                </c:pt>
                <c:pt idx="1">
                  <c:v>Прочие</c:v>
                </c:pt>
              </c:strCache>
            </c:strRef>
          </c:cat>
          <c:val>
            <c:numRef>
              <c:f>Лист1!$C$7:$C$8</c:f>
              <c:numCache>
                <c:formatCode>General</c:formatCode>
                <c:ptCount val="2"/>
                <c:pt idx="0">
                  <c:v>16</c:v>
                </c:pt>
                <c:pt idx="1">
                  <c:v>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BD4-433D-A80F-B8129AE8EB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explosion val="29"/>
          <c:dPt>
            <c:idx val="0"/>
            <c:bubble3D val="0"/>
            <c:spPr>
              <a:solidFill>
                <a:srgbClr val="3AA08F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6FB-4FC5-8606-7ECCD1FD9CE2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6FB-4FC5-8606-7ECCD1FD9CE2}"/>
              </c:ext>
            </c:extLst>
          </c:dPt>
          <c:dLbls>
            <c:dLbl>
              <c:idx val="0"/>
              <c:layout>
                <c:manualLayout>
                  <c:x val="2.0272914199547739E-2"/>
                  <c:y val="6.244712194536877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2000" b="1">
                      <a:solidFill>
                        <a:srgbClr val="3AA08F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FB-4FC5-8606-7ECCD1FD9CE2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6FB-4FC5-8606-7ECCD1FD9CE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B$7:$B$8</c:f>
              <c:strCache>
                <c:ptCount val="2"/>
                <c:pt idx="0">
                  <c:v>РС</c:v>
                </c:pt>
                <c:pt idx="1">
                  <c:v>Прочие</c:v>
                </c:pt>
              </c:strCache>
            </c:strRef>
          </c:cat>
          <c:val>
            <c:numRef>
              <c:f>Лист1!$C$7:$C$8</c:f>
              <c:numCache>
                <c:formatCode>0%</c:formatCode>
                <c:ptCount val="2"/>
                <c:pt idx="0">
                  <c:v>0.2</c:v>
                </c:pt>
                <c:pt idx="1">
                  <c:v>0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6FB-4FC5-8606-7ECCD1FD9C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zero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0FF92F-D11E-488C-B406-4CC79520D5B0}" type="datetimeFigureOut">
              <a:rPr lang="ru-RU" smtClean="0"/>
              <a:pPr/>
              <a:t>28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D1EB9C-12BB-42BE-9067-8E61D155C51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6123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CDE87B-8CC3-4703-9FF7-4214767B6BCC}" type="datetimeFigureOut">
              <a:rPr lang="ru-RU" smtClean="0"/>
              <a:pPr/>
              <a:t>28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66763" y="744538"/>
            <a:ext cx="52641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CF608-F1C7-4FF5-B362-FFF48D0BA8F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4066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784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9569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9353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9138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89225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7070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916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761" algn="l" defTabSz="995690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17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ШГН</a:t>
            </a:r>
            <a:r>
              <a:rPr lang="ru-RU" baseline="0" dirty="0" smtClean="0"/>
              <a:t> РФ = 4 898 шт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ШГН СНГ = 346 шт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ВСЕГО = 5 244 шт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10991"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9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66763" y="744538"/>
            <a:ext cx="52641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CF608-F1C7-4FF5-B362-FFF48D0BA8F2}" type="slidenum">
              <a:rPr lang="ru-RU" smtClean="0"/>
              <a:pPr/>
              <a:t>16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tif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959606" y="6876975"/>
            <a:ext cx="1499662" cy="402567"/>
          </a:xfrm>
        </p:spPr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2" descr="C:\Documents and Settings\i.gusenkov\Мои документы\Презентации\Company profile\римера лого.bmp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4133" y="468263"/>
            <a:ext cx="2592287" cy="575986"/>
          </a:xfrm>
          <a:prstGeom prst="rect">
            <a:avLst/>
          </a:prstGeom>
          <a:noFill/>
        </p:spPr>
      </p:pic>
      <p:pic>
        <p:nvPicPr>
          <p:cNvPr id="8" name="Picture 12" descr="C:\Documents and Settings\yukamerer\Рабочий стол\prezi-l2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6140" y="1142624"/>
            <a:ext cx="10081120" cy="45720"/>
          </a:xfrm>
          <a:prstGeom prst="rect">
            <a:avLst/>
          </a:prstGeom>
          <a:noFill/>
        </p:spPr>
      </p:pic>
      <p:pic>
        <p:nvPicPr>
          <p:cNvPr id="9" name="Picture 2" descr="C:\Documents and Settings\i.gusenkov\Мои документы\Презентации\Company profile\римера лого.bmp"/>
          <p:cNvPicPr>
            <a:picLocks noChangeAspect="1" noChangeArrowheads="1"/>
          </p:cNvPicPr>
          <p:nvPr userDrawn="1"/>
        </p:nvPicPr>
        <p:blipFill>
          <a:blip r:embed="rId2" cstate="print">
            <a:lum bright="-18000" contrast="33000"/>
          </a:blip>
          <a:srcRect l="24285" t="4724" r="342" b="39370"/>
          <a:stretch>
            <a:fillRect/>
          </a:stretch>
        </p:blipFill>
        <p:spPr bwMode="auto">
          <a:xfrm>
            <a:off x="280384" y="6990300"/>
            <a:ext cx="1177884" cy="174707"/>
          </a:xfrm>
          <a:prstGeom prst="rect">
            <a:avLst/>
          </a:prstGeom>
          <a:noFill/>
        </p:spPr>
      </p:pic>
      <p:pic>
        <p:nvPicPr>
          <p:cNvPr id="11" name="Picture 3" descr="C:\Documents and Settings\i.gusenkov\Мои документы\Мои рисунки\Безымянный.bmp"/>
          <p:cNvPicPr>
            <a:picLocks noChangeAspect="1" noChangeArrowheads="1"/>
          </p:cNvPicPr>
          <p:nvPr userDrawn="1"/>
        </p:nvPicPr>
        <p:blipFill>
          <a:blip r:embed="rId4" cstate="print"/>
          <a:srcRect b="25818"/>
          <a:stretch>
            <a:fillRect/>
          </a:stretch>
        </p:blipFill>
        <p:spPr bwMode="auto">
          <a:xfrm>
            <a:off x="8587060" y="6904726"/>
            <a:ext cx="1409895" cy="274289"/>
          </a:xfrm>
          <a:prstGeom prst="rect">
            <a:avLst/>
          </a:prstGeom>
          <a:noFill/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968113" y="4284687"/>
            <a:ext cx="419147" cy="2183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 descr="C:\Documents and Settings\yukamerer\Рабочий стол\prezi-l2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02284" y="7119287"/>
            <a:ext cx="6912768" cy="45720"/>
          </a:xfrm>
          <a:prstGeom prst="rect">
            <a:avLst/>
          </a:prstGeom>
          <a:noFill/>
        </p:spPr>
      </p:pic>
    </p:spTree>
  </p:cSld>
  <p:clrMapOvr>
    <a:masterClrMapping/>
  </p:clrMapOvr>
  <p:transition>
    <p:fade thruBlk="1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16" y="1755"/>
          <a:ext cx="1713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16" y="1755"/>
                        <a:ext cx="1713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9741E0-29ED-4473-87E9-46E31FBC15D1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6778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02005" y="2348894"/>
            <a:ext cx="9089390" cy="162077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04010" y="4284716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7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5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93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91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89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87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84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82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36EB6-3417-4B13-8C81-C54B27756ED8}" type="datetime1">
              <a:rPr lang="ru-RU" smtClean="0"/>
              <a:pPr/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ransition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 userDrawn="1"/>
        </p:nvSpPr>
        <p:spPr>
          <a:xfrm>
            <a:off x="1253105" y="5958762"/>
            <a:ext cx="2923997" cy="263363"/>
          </a:xfrm>
          <a:prstGeom prst="rect">
            <a:avLst/>
          </a:prstGeom>
          <a:noFill/>
        </p:spPr>
        <p:txBody>
          <a:bodyPr wrap="square" lIns="109625" tIns="54811" rIns="109625" bIns="54811" rtlCol="0">
            <a:spAutoFit/>
          </a:bodyPr>
          <a:lstStyle/>
          <a:p>
            <a:pPr defTabSz="1006704"/>
            <a:r>
              <a:rPr lang="ru-RU" sz="992" b="1" dirty="0" smtClean="0">
                <a:solidFill>
                  <a:srgbClr val="7F7F7F"/>
                </a:solidFill>
                <a:cs typeface="Arial" pitchFamily="34" charset="0"/>
              </a:rPr>
              <a:t>  АЛНАС     </a:t>
            </a:r>
            <a:r>
              <a:rPr lang="ru-RU" sz="992" b="1" smtClean="0">
                <a:solidFill>
                  <a:srgbClr val="7F7F7F"/>
                </a:solidFill>
                <a:cs typeface="Arial" pitchFamily="34" charset="0"/>
              </a:rPr>
              <a:t>ИЖНЕФТЕМАШ      РИМЕРА-СЕРВИ</a:t>
            </a:r>
            <a:r>
              <a:rPr lang="en-US" sz="992" b="1" smtClean="0">
                <a:solidFill>
                  <a:srgbClr val="7F7F7F"/>
                </a:solidFill>
                <a:cs typeface="Arial" pitchFamily="34" charset="0"/>
              </a:rPr>
              <a:t>C</a:t>
            </a:r>
            <a:endParaRPr lang="ru-RU" sz="992" b="1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16" name="Заголовок 15"/>
          <p:cNvSpPr>
            <a:spLocks noGrp="1"/>
          </p:cNvSpPr>
          <p:nvPr>
            <p:ph type="title" hasCustomPrompt="1"/>
          </p:nvPr>
        </p:nvSpPr>
        <p:spPr>
          <a:xfrm>
            <a:off x="5179614" y="2362886"/>
            <a:ext cx="4177139" cy="878628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ru-RU" smtClean="0"/>
              <a:t>ОБРАЗЕЦ</a:t>
            </a:r>
            <a:br>
              <a:rPr lang="ru-RU" smtClean="0"/>
            </a:b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0" hasCustomPrompt="1"/>
          </p:nvPr>
        </p:nvSpPr>
        <p:spPr>
          <a:xfrm>
            <a:off x="5179629" y="4095685"/>
            <a:ext cx="4177109" cy="393821"/>
          </a:xfrm>
        </p:spPr>
        <p:txBody>
          <a:bodyPr>
            <a:normAutofit/>
          </a:bodyPr>
          <a:lstStyle>
            <a:lvl1pPr>
              <a:buNone/>
              <a:defRPr sz="2205"/>
            </a:lvl1pPr>
          </a:lstStyle>
          <a:p>
            <a:pPr lvl="0"/>
            <a:r>
              <a:rPr lang="ru-RU" smtClean="0"/>
              <a:t>Образец подзаголовок</a:t>
            </a:r>
            <a:endParaRPr lang="ru-RU"/>
          </a:p>
        </p:txBody>
      </p:sp>
      <p:pic>
        <p:nvPicPr>
          <p:cNvPr id="6" name="Рисунок 5" descr="Рисунок3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673342" y="4410741"/>
            <a:ext cx="2205955" cy="1417747"/>
          </a:xfrm>
          <a:prstGeom prst="rect">
            <a:avLst/>
          </a:prstGeom>
        </p:spPr>
      </p:pic>
      <p:pic>
        <p:nvPicPr>
          <p:cNvPr id="7" name="Рисунок 6" descr="Рисунок4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2183" y="4410741"/>
            <a:ext cx="2005027" cy="1417747"/>
          </a:xfrm>
          <a:prstGeom prst="rect">
            <a:avLst/>
          </a:prstGeom>
        </p:spPr>
      </p:pic>
      <p:pic>
        <p:nvPicPr>
          <p:cNvPr id="8" name="Рисунок 7" descr="270_Rimera_pres_ER_rev1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762" y="1654011"/>
            <a:ext cx="4287104" cy="2677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587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985"/>
            </a:lvl1pPr>
            <a:lvl2pPr>
              <a:defRPr sz="1764"/>
            </a:lvl2pPr>
            <a:lvl3pPr>
              <a:defRPr sz="1654"/>
            </a:lvl3pPr>
            <a:lvl4pPr>
              <a:defRPr sz="1544"/>
            </a:lvl4pPr>
            <a:lvl5pPr>
              <a:defRPr sz="1433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6931191"/>
            <a:ext cx="774179" cy="402567"/>
          </a:xfrm>
          <a:prstGeom prst="rect">
            <a:avLst/>
          </a:prstGeom>
        </p:spPr>
        <p:txBody>
          <a:bodyPr vert="horz" lIns="91312" tIns="45656" rIns="91312" bIns="45656" rtlCol="0" anchor="ctr"/>
          <a:lstStyle>
            <a:lvl1pPr algn="ctr">
              <a:defRPr sz="1764">
                <a:solidFill>
                  <a:schemeClr val="tx1"/>
                </a:solidFill>
              </a:defRPr>
            </a:lvl1pPr>
          </a:lstStyle>
          <a:p>
            <a:fld id="{A2AE5357-0EF1-4AE0-A6D9-5A1EFB67B5F9}" type="slidenum">
              <a:rPr lang="ru-RU" smtClean="0">
                <a:solidFill>
                  <a:srgbClr val="7F7F7F"/>
                </a:solidFill>
              </a:rPr>
              <a:pPr/>
              <a:t>‹#›</a:t>
            </a:fld>
            <a:endParaRPr lang="ru-RU">
              <a:solidFill>
                <a:srgbClr val="7F7F7F"/>
              </a:solidFill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988838" y="302802"/>
            <a:ext cx="7157000" cy="793833"/>
          </a:xfrm>
          <a:prstGeom prst="rect">
            <a:avLst/>
          </a:prstGeom>
        </p:spPr>
        <p:txBody>
          <a:bodyPr vert="horz" lIns="91312" tIns="45656" rIns="91312" bIns="45656" rtlCol="0" anchor="ctr">
            <a:normAutofit/>
          </a:bodyPr>
          <a:lstStyle>
            <a:lvl1pPr>
              <a:defRPr sz="1985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3692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4670" y="1496492"/>
            <a:ext cx="4722918" cy="4990084"/>
          </a:xfrm>
        </p:spPr>
        <p:txBody>
          <a:bodyPr/>
          <a:lstStyle>
            <a:lvl1pPr>
              <a:defRPr sz="2646"/>
            </a:lvl1pPr>
            <a:lvl2pPr>
              <a:defRPr sz="1985"/>
            </a:lvl2pPr>
            <a:lvl3pPr>
              <a:defRPr sz="1764"/>
            </a:lvl3pPr>
            <a:lvl4pPr>
              <a:defRPr sz="1654"/>
            </a:lvl4pPr>
            <a:lvl5pPr>
              <a:defRPr sz="1544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Содержимое 2"/>
          <p:cNvSpPr>
            <a:spLocks noGrp="1"/>
          </p:cNvSpPr>
          <p:nvPr>
            <p:ph sz="half" idx="13"/>
          </p:nvPr>
        </p:nvSpPr>
        <p:spPr>
          <a:xfrm>
            <a:off x="5430243" y="1496492"/>
            <a:ext cx="4722918" cy="4990084"/>
          </a:xfrm>
        </p:spPr>
        <p:txBody>
          <a:bodyPr/>
          <a:lstStyle>
            <a:lvl1pPr>
              <a:defRPr sz="2646"/>
            </a:lvl1pPr>
            <a:lvl2pPr>
              <a:defRPr sz="1985"/>
            </a:lvl2pPr>
            <a:lvl3pPr>
              <a:defRPr sz="1764"/>
            </a:lvl3pPr>
            <a:lvl4pPr>
              <a:defRPr sz="1654"/>
            </a:lvl4pPr>
            <a:lvl5pPr>
              <a:defRPr sz="1544"/>
            </a:lvl5pPr>
            <a:lvl6pPr>
              <a:defRPr sz="1985"/>
            </a:lvl6pPr>
            <a:lvl7pPr>
              <a:defRPr sz="1985"/>
            </a:lvl7pPr>
            <a:lvl8pPr>
              <a:defRPr sz="1985"/>
            </a:lvl8pPr>
            <a:lvl9pPr>
              <a:defRPr sz="198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6931191"/>
            <a:ext cx="774179" cy="402567"/>
          </a:xfrm>
          <a:prstGeom prst="rect">
            <a:avLst/>
          </a:prstGeom>
        </p:spPr>
        <p:txBody>
          <a:bodyPr vert="horz" lIns="91312" tIns="45656" rIns="91312" bIns="45656" rtlCol="0" anchor="ctr"/>
          <a:lstStyle>
            <a:lvl1pPr algn="ctr">
              <a:defRPr sz="1764">
                <a:solidFill>
                  <a:schemeClr val="tx1"/>
                </a:solidFill>
              </a:defRPr>
            </a:lvl1pPr>
          </a:lstStyle>
          <a:p>
            <a:fld id="{A2AE5357-0EF1-4AE0-A6D9-5A1EFB67B5F9}" type="slidenum">
              <a:rPr lang="ru-RU" smtClean="0">
                <a:solidFill>
                  <a:srgbClr val="7F7F7F"/>
                </a:solidFill>
              </a:rPr>
              <a:pPr/>
              <a:t>‹#›</a:t>
            </a:fld>
            <a:endParaRPr lang="ru-RU">
              <a:solidFill>
                <a:srgbClr val="7F7F7F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988838" y="302802"/>
            <a:ext cx="7157000" cy="793833"/>
          </a:xfrm>
          <a:prstGeom prst="rect">
            <a:avLst/>
          </a:prstGeom>
        </p:spPr>
        <p:txBody>
          <a:bodyPr vert="horz" lIns="91312" tIns="45656" rIns="91312" bIns="45656" rtlCol="0" anchor="ctr">
            <a:normAutofit/>
          </a:bodyPr>
          <a:lstStyle>
            <a:lvl1pPr>
              <a:defRPr sz="1985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6257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6931191"/>
            <a:ext cx="774179" cy="402567"/>
          </a:xfrm>
          <a:prstGeom prst="rect">
            <a:avLst/>
          </a:prstGeom>
        </p:spPr>
        <p:txBody>
          <a:bodyPr vert="horz" lIns="91312" tIns="45656" rIns="91312" bIns="45656" rtlCol="0" anchor="ctr"/>
          <a:lstStyle>
            <a:lvl1pPr algn="ctr">
              <a:defRPr sz="1764">
                <a:solidFill>
                  <a:schemeClr val="tx1"/>
                </a:solidFill>
              </a:defRPr>
            </a:lvl1pPr>
          </a:lstStyle>
          <a:p>
            <a:fld id="{A2AE5357-0EF1-4AE0-A6D9-5A1EFB67B5F9}" type="slidenum">
              <a:rPr lang="ru-RU" smtClean="0">
                <a:solidFill>
                  <a:srgbClr val="7F7F7F"/>
                </a:solidFill>
              </a:rPr>
              <a:pPr/>
              <a:t>‹#›</a:t>
            </a:fld>
            <a:endParaRPr lang="ru-RU">
              <a:solidFill>
                <a:srgbClr val="7F7F7F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988838" y="302802"/>
            <a:ext cx="7157000" cy="793833"/>
          </a:xfrm>
          <a:prstGeom prst="rect">
            <a:avLst/>
          </a:prstGeom>
        </p:spPr>
        <p:txBody>
          <a:bodyPr vert="horz" lIns="91312" tIns="45656" rIns="91312" bIns="45656" rtlCol="0" anchor="ctr">
            <a:normAutofit/>
          </a:bodyPr>
          <a:lstStyle>
            <a:lvl1pPr>
              <a:defRPr sz="1985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5046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85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06704"/>
            <a:fld id="{A2AE5357-0EF1-4AE0-A6D9-5A1EFB67B5F9}" type="slidenum">
              <a:rPr lang="ru-RU" smtClean="0">
                <a:solidFill>
                  <a:srgbClr val="7F7F7F"/>
                </a:solidFill>
              </a:rPr>
              <a:pPr defTabSz="1006704"/>
              <a:t>‹#›</a:t>
            </a:fld>
            <a:endParaRPr lang="ru-RU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700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 userDrawn="1"/>
        </p:nvSpPr>
        <p:spPr>
          <a:xfrm>
            <a:off x="9472959" y="5447867"/>
            <a:ext cx="842094" cy="1587843"/>
          </a:xfrm>
          <a:prstGeom prst="rect">
            <a:avLst/>
          </a:prstGeom>
          <a:solidFill>
            <a:srgbClr val="FCFC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5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6931191"/>
            <a:ext cx="774179" cy="402567"/>
          </a:xfrm>
          <a:prstGeom prst="rect">
            <a:avLst/>
          </a:prstGeom>
        </p:spPr>
        <p:txBody>
          <a:bodyPr vert="horz" lIns="91312" tIns="45656" rIns="91312" bIns="45656" rtlCol="0" anchor="ctr"/>
          <a:lstStyle>
            <a:lvl1pPr algn="ctr">
              <a:defRPr sz="1764">
                <a:solidFill>
                  <a:schemeClr val="tx1"/>
                </a:solidFill>
              </a:defRPr>
            </a:lvl1pPr>
          </a:lstStyle>
          <a:p>
            <a:fld id="{A2AE5357-0EF1-4AE0-A6D9-5A1EFB67B5F9}" type="slidenum">
              <a:rPr lang="ru-RU" smtClean="0">
                <a:solidFill>
                  <a:srgbClr val="7F7F7F"/>
                </a:solidFill>
              </a:rPr>
              <a:pPr/>
              <a:t>‹#›</a:t>
            </a:fld>
            <a:endParaRPr lang="ru-RU">
              <a:solidFill>
                <a:srgbClr val="7F7F7F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988838" y="302802"/>
            <a:ext cx="7157000" cy="793833"/>
          </a:xfrm>
          <a:prstGeom prst="rect">
            <a:avLst/>
          </a:prstGeom>
        </p:spPr>
        <p:txBody>
          <a:bodyPr vert="horz" lIns="91312" tIns="45656" rIns="91312" bIns="45656" rtlCol="0" anchor="ctr">
            <a:normAutofit/>
          </a:bodyPr>
          <a:lstStyle>
            <a:lvl1pPr>
              <a:defRPr sz="1985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1978326" y="1319475"/>
            <a:ext cx="0" cy="559652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8630865" y="1319475"/>
            <a:ext cx="0" cy="559652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630976" y="1478259"/>
            <a:ext cx="94304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630976" y="6288019"/>
            <a:ext cx="7999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630976" y="1240085"/>
            <a:ext cx="1347350" cy="26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3" i="1" dirty="0" smtClean="0">
                <a:solidFill>
                  <a:srgbClr val="106A6A"/>
                </a:solidFill>
              </a:rPr>
              <a:t>Входы</a:t>
            </a:r>
            <a:endParaRPr lang="ru-RU" sz="1103" i="1" dirty="0">
              <a:solidFill>
                <a:srgbClr val="106A6A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630866" y="1240085"/>
            <a:ext cx="1347350" cy="26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3" i="1" dirty="0" smtClean="0">
                <a:solidFill>
                  <a:srgbClr val="106A6A"/>
                </a:solidFill>
              </a:rPr>
              <a:t>Выходы</a:t>
            </a:r>
            <a:endParaRPr lang="ru-RU" sz="1103" i="1" dirty="0">
              <a:solidFill>
                <a:srgbClr val="106A6A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978326" y="1240085"/>
            <a:ext cx="6652539" cy="26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3" i="1" dirty="0" smtClean="0">
                <a:solidFill>
                  <a:srgbClr val="106A6A"/>
                </a:solidFill>
              </a:rPr>
              <a:t>Содержание процесса</a:t>
            </a:r>
            <a:endParaRPr lang="ru-RU" sz="1103" i="1" dirty="0">
              <a:solidFill>
                <a:srgbClr val="106A6A"/>
              </a:solidFill>
            </a:endParaRPr>
          </a:p>
        </p:txBody>
      </p:sp>
      <p:sp>
        <p:nvSpPr>
          <p:cNvPr id="16" name="TextBox 15"/>
          <p:cNvSpPr txBox="1">
            <a:spLocks/>
          </p:cNvSpPr>
          <p:nvPr userDrawn="1"/>
        </p:nvSpPr>
        <p:spPr>
          <a:xfrm>
            <a:off x="546768" y="5573358"/>
            <a:ext cx="1599978" cy="431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103" i="1" dirty="0" smtClean="0">
                <a:solidFill>
                  <a:srgbClr val="106A6A"/>
                </a:solidFill>
              </a:rPr>
              <a:t>КПЭ процесса</a:t>
            </a:r>
          </a:p>
          <a:p>
            <a:pPr algn="l"/>
            <a:r>
              <a:rPr lang="ru-RU" sz="1103" i="1" dirty="0" smtClean="0">
                <a:solidFill>
                  <a:srgbClr val="106A6A"/>
                </a:solidFill>
              </a:rPr>
              <a:t>(индикативно)</a:t>
            </a:r>
            <a:endParaRPr lang="ru-RU" sz="1103" i="1" dirty="0">
              <a:solidFill>
                <a:srgbClr val="106A6A"/>
              </a:solidFill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546768" y="4461870"/>
            <a:ext cx="1599978" cy="26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103" i="1" dirty="0" smtClean="0">
                <a:solidFill>
                  <a:srgbClr val="106A6A"/>
                </a:solidFill>
              </a:rPr>
              <a:t>Основные участники </a:t>
            </a:r>
            <a:endParaRPr lang="ru-RU" sz="1103" i="1" dirty="0">
              <a:solidFill>
                <a:srgbClr val="106A6A"/>
              </a:solidFill>
            </a:endParaRPr>
          </a:p>
        </p:txBody>
      </p:sp>
      <p:sp>
        <p:nvSpPr>
          <p:cNvPr id="18" name="TextBox 17"/>
          <p:cNvSpPr txBox="1">
            <a:spLocks/>
          </p:cNvSpPr>
          <p:nvPr userDrawn="1"/>
        </p:nvSpPr>
        <p:spPr>
          <a:xfrm>
            <a:off x="546768" y="6287890"/>
            <a:ext cx="1599978" cy="262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103" i="1" dirty="0" smtClean="0">
                <a:solidFill>
                  <a:srgbClr val="106A6A"/>
                </a:solidFill>
              </a:rPr>
              <a:t>Комментарии</a:t>
            </a:r>
            <a:endParaRPr lang="ru-RU" sz="1103" i="1" dirty="0">
              <a:solidFill>
                <a:srgbClr val="106A6A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30976" y="4461867"/>
            <a:ext cx="94304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630976" y="5573358"/>
            <a:ext cx="7999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9148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6931191"/>
            <a:ext cx="774179" cy="402567"/>
          </a:xfrm>
          <a:prstGeom prst="rect">
            <a:avLst/>
          </a:prstGeom>
        </p:spPr>
        <p:txBody>
          <a:bodyPr vert="horz" lIns="91312" tIns="45656" rIns="91312" bIns="45656" rtlCol="0" anchor="ctr"/>
          <a:lstStyle>
            <a:lvl1pPr algn="ctr">
              <a:defRPr sz="1764">
                <a:solidFill>
                  <a:schemeClr val="tx1"/>
                </a:solidFill>
              </a:defRPr>
            </a:lvl1pPr>
          </a:lstStyle>
          <a:p>
            <a:fld id="{A2AE5357-0EF1-4AE0-A6D9-5A1EFB67B5F9}" type="slidenum">
              <a:rPr lang="ru-RU" smtClean="0">
                <a:solidFill>
                  <a:srgbClr val="7F7F7F"/>
                </a:solidFill>
              </a:rPr>
              <a:pPr/>
              <a:t>‹#›</a:t>
            </a:fld>
            <a:endParaRPr lang="ru-RU">
              <a:solidFill>
                <a:srgbClr val="7F7F7F"/>
              </a:solidFill>
            </a:endParaRPr>
          </a:p>
        </p:txBody>
      </p:sp>
      <p:pic>
        <p:nvPicPr>
          <p:cNvPr id="5" name="Picture 2" descr="Картинки по запросу римера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81"/>
          <a:stretch/>
        </p:blipFill>
        <p:spPr bwMode="auto">
          <a:xfrm>
            <a:off x="630976" y="1390223"/>
            <a:ext cx="2491979" cy="5452930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0000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988838" y="287377"/>
            <a:ext cx="7157000" cy="793833"/>
          </a:xfrm>
        </p:spPr>
        <p:txBody>
          <a:bodyPr>
            <a:normAutofit/>
          </a:bodyPr>
          <a:lstStyle>
            <a:lvl1pPr>
              <a:defRPr sz="1985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2267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7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6.xml"/><Relationship Id="rId9" Type="http://schemas.openxmlformats.org/officeDocument/2006/relationships/theme" Target="../theme/theme2.xml"/><Relationship Id="rId14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4670" y="302801"/>
            <a:ext cx="9624060" cy="1260211"/>
          </a:xfrm>
          <a:prstGeom prst="rect">
            <a:avLst/>
          </a:prstGeom>
        </p:spPr>
        <p:txBody>
          <a:bodyPr vert="horz" lIns="99569" tIns="49785" rIns="99569" bIns="4978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764296"/>
            <a:ext cx="9624060" cy="4990084"/>
          </a:xfrm>
          <a:prstGeom prst="rect">
            <a:avLst/>
          </a:prstGeom>
        </p:spPr>
        <p:txBody>
          <a:bodyPr vert="horz" lIns="99569" tIns="49785" rIns="99569" bIns="4978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34670" y="7008172"/>
            <a:ext cx="2495127" cy="402567"/>
          </a:xfrm>
          <a:prstGeom prst="rect">
            <a:avLst/>
          </a:prstGeom>
        </p:spPr>
        <p:txBody>
          <a:bodyPr vert="horz" lIns="99569" tIns="49785" rIns="99569" bIns="49785" rtlCol="0" anchor="ctr"/>
          <a:lstStyle>
            <a:lvl1pPr algn="l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F53D8F-45B6-48CC-9D55-6A1863CB908F}" type="datetime1">
              <a:rPr lang="ru-RU" smtClean="0"/>
              <a:pPr/>
              <a:t>28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653579" y="7008172"/>
            <a:ext cx="3386243" cy="402567"/>
          </a:xfrm>
          <a:prstGeom prst="rect">
            <a:avLst/>
          </a:prstGeom>
        </p:spPr>
        <p:txBody>
          <a:bodyPr vert="horz" lIns="99569" tIns="49785" rIns="99569" bIns="49785" rtlCol="0" anchor="ctr"/>
          <a:lstStyle>
            <a:lvl1pPr algn="ct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99569" tIns="49785" rIns="99569" bIns="49785" rtlCol="0" anchor="ctr"/>
          <a:lstStyle>
            <a:lvl1pPr algn="r">
              <a:defRPr sz="13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</p:sldLayoutIdLst>
  <p:transition>
    <p:fade thruBlk="1"/>
  </p:transition>
  <p:hf hdr="0" ftr="0" dt="0"/>
  <p:txStyles>
    <p:titleStyle>
      <a:lvl1pPr algn="ctr" defTabSz="995690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73384" indent="-373384" algn="l" defTabSz="995690" rtl="0" eaLnBrk="1" latinLnBrk="0" hangingPunct="1">
        <a:spcBef>
          <a:spcPct val="20000"/>
        </a:spcBef>
        <a:buFont typeface="Arial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08998" indent="-311153" algn="l" defTabSz="995690" rtl="0" eaLnBrk="1" latinLnBrk="0" hangingPunct="1">
        <a:spcBef>
          <a:spcPct val="20000"/>
        </a:spcBef>
        <a:buFont typeface="Arial" pitchFamily="34" charset="0"/>
        <a:buChar char="–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124461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42458" indent="-248923" algn="l" defTabSz="995690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40303" indent="-248923" algn="l" defTabSz="995690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3814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99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838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1683" indent="-248923" algn="l" defTabSz="99569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9784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9569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53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38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89225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87070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916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761" algn="l" defTabSz="995690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2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859" y="1753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59" y="1753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88838" y="287377"/>
            <a:ext cx="7157000" cy="793833"/>
          </a:xfrm>
          <a:prstGeom prst="rect">
            <a:avLst/>
          </a:prstGeom>
        </p:spPr>
        <p:txBody>
          <a:bodyPr vert="horz" lIns="91312" tIns="45656" rIns="91312" bIns="45656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4670" y="1496492"/>
            <a:ext cx="9624060" cy="4990084"/>
          </a:xfrm>
          <a:prstGeom prst="rect">
            <a:avLst/>
          </a:prstGeom>
        </p:spPr>
        <p:txBody>
          <a:bodyPr vert="horz" lIns="91312" tIns="45656" rIns="91312" bIns="45656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663603" y="6931191"/>
            <a:ext cx="774179" cy="402567"/>
          </a:xfrm>
          <a:prstGeom prst="rect">
            <a:avLst/>
          </a:prstGeom>
        </p:spPr>
        <p:txBody>
          <a:bodyPr vert="horz" lIns="91312" tIns="45656" rIns="91312" bIns="45656" rtlCol="0" anchor="ctr"/>
          <a:lstStyle>
            <a:lvl1pPr algn="ctr">
              <a:defRPr sz="1764">
                <a:solidFill>
                  <a:schemeClr val="tx1"/>
                </a:solidFill>
              </a:defRPr>
            </a:lvl1pPr>
          </a:lstStyle>
          <a:p>
            <a:pPr defTabSz="1006704"/>
            <a:fld id="{A2AE5357-0EF1-4AE0-A6D9-5A1EFB67B5F9}" type="slidenum">
              <a:rPr lang="ru-RU" smtClean="0">
                <a:solidFill>
                  <a:srgbClr val="7F7F7F"/>
                </a:solidFill>
              </a:rPr>
              <a:pPr defTabSz="1006704"/>
              <a:t>‹#›</a:t>
            </a:fld>
            <a:endParaRPr lang="ru-RU">
              <a:solidFill>
                <a:srgbClr val="7F7F7F"/>
              </a:solidFill>
            </a:endParaRPr>
          </a:p>
        </p:txBody>
      </p:sp>
      <p:sp>
        <p:nvSpPr>
          <p:cNvPr id="8" name="Прямоугольник 229"/>
          <p:cNvSpPr/>
          <p:nvPr userDrawn="1"/>
        </p:nvSpPr>
        <p:spPr>
          <a:xfrm>
            <a:off x="-632164" y="2487695"/>
            <a:ext cx="336604" cy="476300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endParaRPr lang="ru-RU" sz="1544" b="1" dirty="0">
              <a:solidFill>
                <a:schemeClr val="bg1"/>
              </a:solidFill>
              <a:sym typeface="Georgia" panose="02040502050405020303" pitchFamily="18" charset="0"/>
            </a:endParaRPr>
          </a:p>
        </p:txBody>
      </p:sp>
      <p:sp>
        <p:nvSpPr>
          <p:cNvPr id="9" name="Rectangle 8"/>
          <p:cNvSpPr>
            <a:spLocks/>
          </p:cNvSpPr>
          <p:nvPr userDrawn="1"/>
        </p:nvSpPr>
        <p:spPr bwMode="ltGray">
          <a:xfrm>
            <a:off x="-632164" y="3689934"/>
            <a:ext cx="336604" cy="4763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wrap="square" lIns="33945" tIns="33945" rIns="33945" bIns="33945" rtlCol="0">
            <a:noAutofit/>
          </a:bodyPr>
          <a:lstStyle/>
          <a:p>
            <a:pPr marL="399050">
              <a:spcBef>
                <a:spcPts val="331"/>
              </a:spcBef>
            </a:pPr>
            <a:endParaRPr lang="ru-RU" sz="1544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 9"/>
          <p:cNvSpPr>
            <a:spLocks/>
          </p:cNvSpPr>
          <p:nvPr userDrawn="1"/>
        </p:nvSpPr>
        <p:spPr bwMode="ltGray">
          <a:xfrm>
            <a:off x="-632164" y="1886576"/>
            <a:ext cx="336604" cy="476300"/>
          </a:xfrm>
          <a:prstGeom prst="rect">
            <a:avLst/>
          </a:prstGeom>
          <a:solidFill>
            <a:srgbClr val="01A28A"/>
          </a:solidFill>
          <a:ln>
            <a:noFill/>
          </a:ln>
          <a:effectLst/>
        </p:spPr>
        <p:txBody>
          <a:bodyPr lIns="39692" tIns="67891" rIns="39692" bIns="67891" anchor="ctr"/>
          <a:lstStyle/>
          <a:p>
            <a:pPr algn="ctr"/>
            <a:endParaRPr lang="ru-RU" sz="772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>
            <a:spLocks/>
          </p:cNvSpPr>
          <p:nvPr userDrawn="1"/>
        </p:nvSpPr>
        <p:spPr bwMode="ltGray">
          <a:xfrm>
            <a:off x="-632164" y="4291053"/>
            <a:ext cx="336604" cy="4763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txBody>
          <a:bodyPr wrap="square" lIns="33945" tIns="33945" rIns="33945" bIns="33945" rtlCol="0">
            <a:noAutofit/>
          </a:bodyPr>
          <a:lstStyle/>
          <a:p>
            <a:pPr>
              <a:spcBef>
                <a:spcPts val="331"/>
              </a:spcBef>
            </a:pPr>
            <a:endParaRPr lang="ru-RU" sz="1544" dirty="0">
              <a:solidFill>
                <a:sysClr val="windowText" lastClr="000000"/>
              </a:solidFill>
            </a:endParaRPr>
          </a:p>
        </p:txBody>
      </p:sp>
      <p:sp>
        <p:nvSpPr>
          <p:cNvPr id="13" name="Rectangle 12"/>
          <p:cNvSpPr>
            <a:spLocks/>
          </p:cNvSpPr>
          <p:nvPr userDrawn="1"/>
        </p:nvSpPr>
        <p:spPr bwMode="ltGray">
          <a:xfrm>
            <a:off x="-632164" y="3088815"/>
            <a:ext cx="336604" cy="476300"/>
          </a:xfrm>
          <a:prstGeom prst="rect">
            <a:avLst/>
          </a:prstGeom>
          <a:solidFill>
            <a:srgbClr val="7F7F7F"/>
          </a:solidFill>
          <a:ln>
            <a:noFill/>
          </a:ln>
        </p:spPr>
        <p:txBody>
          <a:bodyPr wrap="square" lIns="33945" tIns="33945" rIns="33945" bIns="33945" rtlCol="0">
            <a:noAutofit/>
          </a:bodyPr>
          <a:lstStyle/>
          <a:p>
            <a:pPr>
              <a:spcBef>
                <a:spcPts val="331"/>
              </a:spcBef>
            </a:pPr>
            <a:endParaRPr lang="ru-RU" sz="1544" dirty="0">
              <a:solidFill>
                <a:sysClr val="windowText" lastClr="000000"/>
              </a:solidFill>
            </a:endParaRPr>
          </a:p>
        </p:txBody>
      </p:sp>
      <p:sp>
        <p:nvSpPr>
          <p:cNvPr id="14" name="Rectangle 13"/>
          <p:cNvSpPr>
            <a:spLocks/>
          </p:cNvSpPr>
          <p:nvPr userDrawn="1"/>
        </p:nvSpPr>
        <p:spPr bwMode="ltGray">
          <a:xfrm>
            <a:off x="-632164" y="1285457"/>
            <a:ext cx="336604" cy="476300"/>
          </a:xfrm>
          <a:prstGeom prst="rect">
            <a:avLst/>
          </a:prstGeom>
          <a:solidFill>
            <a:srgbClr val="69C1B3"/>
          </a:solidFill>
          <a:ln>
            <a:noFill/>
          </a:ln>
          <a:effectLst/>
        </p:spPr>
        <p:txBody>
          <a:bodyPr lIns="39692" tIns="67891" rIns="39692" bIns="67891" anchor="ctr"/>
          <a:lstStyle/>
          <a:p>
            <a:pPr algn="ctr"/>
            <a:endParaRPr lang="ru-RU" sz="772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>
            <a:spLocks/>
          </p:cNvSpPr>
          <p:nvPr userDrawn="1"/>
        </p:nvSpPr>
        <p:spPr bwMode="ltGray">
          <a:xfrm>
            <a:off x="-632164" y="684337"/>
            <a:ext cx="336604" cy="476300"/>
          </a:xfrm>
          <a:prstGeom prst="rect">
            <a:avLst/>
          </a:prstGeom>
          <a:solidFill>
            <a:srgbClr val="000000"/>
          </a:solidFill>
          <a:ln>
            <a:noFill/>
          </a:ln>
          <a:effectLst/>
        </p:spPr>
        <p:txBody>
          <a:bodyPr lIns="39692" tIns="67891" rIns="39692" bIns="67891" anchor="ctr"/>
          <a:lstStyle/>
          <a:p>
            <a:pPr algn="ctr"/>
            <a:endParaRPr lang="ru-RU" sz="772" b="1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>
            <a:spLocks/>
          </p:cNvSpPr>
          <p:nvPr userDrawn="1"/>
        </p:nvSpPr>
        <p:spPr bwMode="ltGray">
          <a:xfrm>
            <a:off x="-632164" y="4892175"/>
            <a:ext cx="336604" cy="476300"/>
          </a:xfrm>
          <a:prstGeom prst="rect">
            <a:avLst/>
          </a:prstGeom>
          <a:solidFill>
            <a:srgbClr val="FDFDFD"/>
          </a:solidFill>
          <a:ln>
            <a:noFill/>
          </a:ln>
        </p:spPr>
        <p:txBody>
          <a:bodyPr wrap="square" lIns="33945" tIns="33945" rIns="33945" bIns="33945" rtlCol="0">
            <a:noAutofit/>
          </a:bodyPr>
          <a:lstStyle/>
          <a:p>
            <a:pPr>
              <a:spcBef>
                <a:spcPts val="331"/>
              </a:spcBef>
            </a:pPr>
            <a:endParaRPr lang="ru-RU" sz="1544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663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r" defTabSz="1006704" rtl="0" eaLnBrk="1" latinLnBrk="0" hangingPunct="1">
        <a:spcBef>
          <a:spcPct val="0"/>
        </a:spcBef>
        <a:buNone/>
        <a:defRPr sz="2426" b="1" kern="1200">
          <a:solidFill>
            <a:srgbClr val="000000"/>
          </a:solidFill>
          <a:latin typeface="Arial Narrow" pitchFamily="34" charset="0"/>
          <a:ea typeface="+mj-ea"/>
          <a:cs typeface="+mj-cs"/>
        </a:defRPr>
      </a:lvl1pPr>
    </p:titleStyle>
    <p:bodyStyle>
      <a:lvl1pPr marL="377513" indent="-377513" algn="l" defTabSz="1006704" rtl="0" eaLnBrk="1" latinLnBrk="0" hangingPunct="1">
        <a:spcBef>
          <a:spcPct val="20000"/>
        </a:spcBef>
        <a:buFont typeface="Arial" pitchFamily="34" charset="0"/>
        <a:buChar char="•"/>
        <a:defRPr sz="2646" kern="1200">
          <a:solidFill>
            <a:srgbClr val="000000"/>
          </a:solidFill>
          <a:latin typeface="+mn-lt"/>
          <a:ea typeface="+mn-ea"/>
          <a:cs typeface="+mn-cs"/>
        </a:defRPr>
      </a:lvl1pPr>
      <a:lvl2pPr marL="817947" indent="-314598" algn="l" defTabSz="1006704" rtl="0" eaLnBrk="1" latinLnBrk="0" hangingPunct="1">
        <a:spcBef>
          <a:spcPct val="20000"/>
        </a:spcBef>
        <a:buFont typeface="Arial" pitchFamily="34" charset="0"/>
        <a:buChar char="–"/>
        <a:defRPr sz="1985" kern="1200">
          <a:solidFill>
            <a:srgbClr val="000000"/>
          </a:solidFill>
          <a:latin typeface="+mn-lt"/>
          <a:ea typeface="+mn-ea"/>
          <a:cs typeface="+mn-cs"/>
        </a:defRPr>
      </a:lvl2pPr>
      <a:lvl3pPr marL="1258380" indent="-251675" algn="l" defTabSz="1006704" rtl="0" eaLnBrk="1" latinLnBrk="0" hangingPunct="1">
        <a:spcBef>
          <a:spcPct val="20000"/>
        </a:spcBef>
        <a:buFont typeface="Arial" pitchFamily="34" charset="0"/>
        <a:buChar char="•"/>
        <a:defRPr sz="1764" kern="1200">
          <a:solidFill>
            <a:srgbClr val="000000"/>
          </a:solidFill>
          <a:latin typeface="+mn-lt"/>
          <a:ea typeface="+mn-ea"/>
          <a:cs typeface="+mn-cs"/>
        </a:defRPr>
      </a:lvl3pPr>
      <a:lvl4pPr marL="1761732" indent="-251675" algn="l" defTabSz="1006704" rtl="0" eaLnBrk="1" latinLnBrk="0" hangingPunct="1">
        <a:spcBef>
          <a:spcPct val="20000"/>
        </a:spcBef>
        <a:buFont typeface="Arial" pitchFamily="34" charset="0"/>
        <a:buChar char="–"/>
        <a:defRPr sz="1654" kern="1200">
          <a:solidFill>
            <a:srgbClr val="000000"/>
          </a:solidFill>
          <a:latin typeface="+mn-lt"/>
          <a:ea typeface="+mn-ea"/>
          <a:cs typeface="+mn-cs"/>
        </a:defRPr>
      </a:lvl4pPr>
      <a:lvl5pPr marL="2265084" indent="-251675" algn="l" defTabSz="1006704" rtl="0" eaLnBrk="1" latinLnBrk="0" hangingPunct="1">
        <a:spcBef>
          <a:spcPct val="20000"/>
        </a:spcBef>
        <a:buFont typeface="Arial" pitchFamily="34" charset="0"/>
        <a:buChar char="»"/>
        <a:defRPr sz="1544" kern="1200">
          <a:solidFill>
            <a:srgbClr val="000000"/>
          </a:solidFill>
          <a:latin typeface="+mn-lt"/>
          <a:ea typeface="+mn-ea"/>
          <a:cs typeface="+mn-cs"/>
        </a:defRPr>
      </a:lvl5pPr>
      <a:lvl6pPr marL="2768435" indent="-251675" algn="l" defTabSz="1006704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1787" indent="-251675" algn="l" defTabSz="1006704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75141" indent="-251675" algn="l" defTabSz="1006704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78492" indent="-251675" algn="l" defTabSz="1006704" rtl="0" eaLnBrk="1" latinLnBrk="0" hangingPunct="1">
        <a:spcBef>
          <a:spcPct val="20000"/>
        </a:spcBef>
        <a:buFont typeface="Arial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0670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3352" algn="l" defTabSz="100670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6704" algn="l" defTabSz="100670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0055" algn="l" defTabSz="100670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3409" algn="l" defTabSz="100670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16758" algn="l" defTabSz="100670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0112" algn="l" defTabSz="100670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3464" algn="l" defTabSz="100670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26814" algn="l" defTabSz="1006704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6.png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eg"/><Relationship Id="rId11" Type="http://schemas.openxmlformats.org/officeDocument/2006/relationships/image" Target="../media/image52.jpeg"/><Relationship Id="rId5" Type="http://schemas.openxmlformats.org/officeDocument/2006/relationships/image" Target="../media/image46.jpeg"/><Relationship Id="rId10" Type="http://schemas.openxmlformats.org/officeDocument/2006/relationships/image" Target="../media/image51.jpeg"/><Relationship Id="rId4" Type="http://schemas.openxmlformats.org/officeDocument/2006/relationships/image" Target="../media/image45.jpeg"/><Relationship Id="rId9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7" Type="http://schemas.openxmlformats.org/officeDocument/2006/relationships/image" Target="../media/image60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9.png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png"/><Relationship Id="rId3" Type="http://schemas.openxmlformats.org/officeDocument/2006/relationships/image" Target="../media/image62.png"/><Relationship Id="rId7" Type="http://schemas.openxmlformats.org/officeDocument/2006/relationships/image" Target="../media/image66.jpeg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2" Type="http://schemas.openxmlformats.org/officeDocument/2006/relationships/image" Target="../media/image61.png"/><Relationship Id="rId16" Type="http://schemas.openxmlformats.org/officeDocument/2006/relationships/image" Target="../media/image7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image" Target="../media/image64.png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4" Type="http://schemas.openxmlformats.org/officeDocument/2006/relationships/image" Target="../media/image63.png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7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rimera.com" TargetMode="External"/><Relationship Id="rId3" Type="http://schemas.openxmlformats.org/officeDocument/2006/relationships/image" Target="../media/image6.png"/><Relationship Id="rId7" Type="http://schemas.openxmlformats.org/officeDocument/2006/relationships/hyperlink" Target="http://www.facebook.com/rimera.group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rimera.com/" TargetMode="External"/><Relationship Id="rId5" Type="http://schemas.openxmlformats.org/officeDocument/2006/relationships/image" Target="../media/image79.png"/><Relationship Id="rId4" Type="http://schemas.openxmlformats.org/officeDocument/2006/relationships/image" Target="../media/image78.png"/><Relationship Id="rId9" Type="http://schemas.openxmlformats.org/officeDocument/2006/relationships/image" Target="../media/image8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chart" Target="../charts/chart1.xml"/><Relationship Id="rId7" Type="http://schemas.openxmlformats.org/officeDocument/2006/relationships/image" Target="../media/image2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chart" Target="../charts/chart2.xml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6.pn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jpeg"/><Relationship Id="rId5" Type="http://schemas.openxmlformats.org/officeDocument/2006/relationships/chart" Target="../charts/chart4.xml"/><Relationship Id="rId4" Type="http://schemas.openxmlformats.org/officeDocument/2006/relationships/chart" Target="../charts/chart3.xml"/><Relationship Id="rId9" Type="http://schemas.openxmlformats.org/officeDocument/2006/relationships/image" Target="../media/image3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270_Rimera_pres_ER_rev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8" y="1111"/>
            <a:ext cx="10692384" cy="755904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5346701" y="2381637"/>
            <a:ext cx="3714775" cy="3516862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ru-RU" sz="2400" b="1" dirty="0" smtClean="0">
                <a:solidFill>
                  <a:srgbClr val="3AA08F"/>
                </a:solidFill>
                <a:ea typeface="Tahoma" pitchFamily="34" charset="0"/>
                <a:cs typeface="Tahoma" pitchFamily="34" charset="0"/>
              </a:rPr>
              <a:t>РАСШИРЕНИЕ </a:t>
            </a:r>
          </a:p>
          <a:p>
            <a:r>
              <a:rPr lang="ru-RU" sz="2400" b="1" dirty="0" smtClean="0">
                <a:solidFill>
                  <a:srgbClr val="3AA08F"/>
                </a:solidFill>
                <a:ea typeface="Tahoma" pitchFamily="34" charset="0"/>
                <a:cs typeface="Tahoma" pitchFamily="34" charset="0"/>
              </a:rPr>
              <a:t>ВОЗМОЖНОСТЕЙ </a:t>
            </a:r>
          </a:p>
          <a:p>
            <a:endParaRPr lang="ru-RU" sz="3000" b="1" dirty="0" smtClean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endParaRPr lang="ru-RU" sz="3000" b="1" dirty="0" smtClean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Tahoma" pitchFamily="34" charset="0"/>
                <a:cs typeface="Tahoma" pitchFamily="34" charset="0"/>
              </a:rPr>
              <a:t>Группа компаний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Tahoma" pitchFamily="34" charset="0"/>
                <a:cs typeface="Tahoma" pitchFamily="34" charset="0"/>
              </a:rPr>
              <a:t>«РИМЕРА» 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ea typeface="Tahoma" pitchFamily="34" charset="0"/>
              <a:cs typeface="Tahoma" pitchFamily="34" charset="0"/>
            </a:endParaRPr>
          </a:p>
          <a:p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endParaRPr lang="en-US" b="1" dirty="0" smtClean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endParaRPr lang="en-US" b="1" dirty="0" smtClean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endParaRPr lang="en-US" b="1" dirty="0" smtClean="0">
              <a:solidFill>
                <a:schemeClr val="tx1">
                  <a:lumMod val="85000"/>
                  <a:lumOff val="15000"/>
                </a:schemeClr>
              </a:solidFill>
              <a:cs typeface="Arial" pitchFamily="34" charset="0"/>
            </a:endParaRPr>
          </a:p>
          <a:p>
            <a:r>
              <a:rPr 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Tahoma" pitchFamily="34" charset="0"/>
                <a:cs typeface="Tahoma" pitchFamily="34" charset="0"/>
              </a:rPr>
              <a:t>201</a:t>
            </a:r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Tahoma" pitchFamily="34" charset="0"/>
                <a:cs typeface="Tahoma" pitchFamily="34" charset="0"/>
              </a:rPr>
              <a:t>7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74800" y="6066647"/>
            <a:ext cx="2500330" cy="239042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ru-RU" sz="900" b="1" dirty="0" smtClean="0">
                <a:solidFill>
                  <a:schemeClr val="tx2">
                    <a:lumMod val="60000"/>
                    <a:lumOff val="40000"/>
                  </a:schemeClr>
                </a:solidFill>
                <a:cs typeface="Arial" pitchFamily="34" charset="0"/>
              </a:rPr>
              <a:t>  АЛНАС     </a:t>
            </a:r>
            <a:r>
              <a:rPr lang="ru-RU" sz="900" b="1" smtClean="0">
                <a:solidFill>
                  <a:schemeClr val="tx2">
                    <a:lumMod val="60000"/>
                    <a:lumOff val="40000"/>
                  </a:schemeClr>
                </a:solidFill>
                <a:cs typeface="Arial" pitchFamily="34" charset="0"/>
              </a:rPr>
              <a:t>ИЖНЕФТЕМАШ      РИМЕРА-СЕРВИ</a:t>
            </a:r>
            <a:r>
              <a:rPr lang="en-US" sz="900" b="1" smtClean="0">
                <a:solidFill>
                  <a:schemeClr val="tx2">
                    <a:lumMod val="60000"/>
                    <a:lumOff val="40000"/>
                  </a:schemeClr>
                </a:solidFill>
                <a:cs typeface="Arial" pitchFamily="34" charset="0"/>
              </a:rPr>
              <a:t>C</a:t>
            </a:r>
            <a:endParaRPr lang="ru-RU" sz="900" b="1" dirty="0">
              <a:solidFill>
                <a:schemeClr val="tx2">
                  <a:lumMod val="60000"/>
                  <a:lumOff val="40000"/>
                </a:schemeClr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9625716" y="5606650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465516" y="302802"/>
            <a:ext cx="7688017" cy="878628"/>
          </a:xfrm>
        </p:spPr>
        <p:txBody>
          <a:bodyPr>
            <a:noAutofit/>
          </a:bodyPr>
          <a:lstStyle/>
          <a:p>
            <a:r>
              <a:rPr lang="ru-RU" sz="2646" dirty="0">
                <a:solidFill>
                  <a:schemeClr val="tx1"/>
                </a:solidFill>
              </a:rPr>
              <a:t>СЕРВИСНЫЕ ВОЗМОЖНОСТИ</a:t>
            </a:r>
            <a:br>
              <a:rPr lang="ru-RU" sz="2646" dirty="0">
                <a:solidFill>
                  <a:schemeClr val="tx1"/>
                </a:solidFill>
              </a:rPr>
            </a:br>
            <a:r>
              <a:rPr lang="ru-RU" sz="2646" dirty="0">
                <a:solidFill>
                  <a:srgbClr val="3AA08F"/>
                </a:solidFill>
              </a:rPr>
              <a:t>ООО «РИМЕРА-СЕРВИС»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06526"/>
            <a:fld id="{A2AE5357-0EF1-4AE0-A6D9-5A1EFB67B5F9}" type="slidenum">
              <a:rPr lang="ru-RU" sz="1600" b="1">
                <a:solidFill>
                  <a:srgbClr val="7F7F7F"/>
                </a:solidFill>
                <a:latin typeface="Arial Narrow"/>
              </a:rPr>
              <a:pPr defTabSz="1006526"/>
              <a:t>10</a:t>
            </a:fld>
            <a:endParaRPr lang="ru-RU" sz="1600" b="1" dirty="0">
              <a:solidFill>
                <a:srgbClr val="7F7F7F"/>
              </a:solidFill>
              <a:latin typeface="Arial Narrow"/>
            </a:endParaRPr>
          </a:p>
        </p:txBody>
      </p:sp>
      <p:pic>
        <p:nvPicPr>
          <p:cNvPr id="526338" name="Picture 2" descr="E:\Р-С\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123" y="1319674"/>
            <a:ext cx="3814369" cy="2542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6339" name="Picture 3" descr="E:\Р-С\JB0A472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3154" y="1319475"/>
            <a:ext cx="3814369" cy="2542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5314" name="Picture 2" descr="Сервисная сеть ГК «Римера» увеличила фонд обслуживаемых скважин компании «Белкамнефть» им. А.А. Волкова 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3123" y="3943031"/>
            <a:ext cx="3814369" cy="2537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5315" name="Picture 3" descr="E:\Р-С\JB0A365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700" y="3939615"/>
            <a:ext cx="3814369" cy="2540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456484" y="6533361"/>
            <a:ext cx="7704585" cy="43165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 defTabSz="1006526"/>
            <a:r>
              <a:rPr lang="ru-RU" sz="2205" b="1" dirty="0">
                <a:solidFill>
                  <a:prstClr val="white"/>
                </a:solidFill>
                <a:latin typeface="Arial Narrow"/>
              </a:rPr>
              <a:t>Каждая пятая скважина с УЭЦН в обслуживании</a:t>
            </a:r>
            <a:r>
              <a:rPr lang="ru-RU" sz="2205" dirty="0">
                <a:solidFill>
                  <a:prstClr val="white"/>
                </a:solidFill>
                <a:latin typeface="Arial Narrow"/>
              </a:rPr>
              <a:t>*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53122" y="7204957"/>
            <a:ext cx="7707946" cy="431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006526"/>
            <a:r>
              <a:rPr lang="ru-RU" sz="1103" dirty="0">
                <a:solidFill>
                  <a:srgbClr val="7F7F7F"/>
                </a:solidFill>
                <a:latin typeface="Arial Narrow"/>
              </a:rPr>
              <a:t>* - на рынке независимого сервиса и ремонта РФ</a:t>
            </a:r>
          </a:p>
          <a:p>
            <a:pPr algn="ctr" defTabSz="1006526"/>
            <a:endParaRPr lang="ru-RU" sz="1103" dirty="0">
              <a:solidFill>
                <a:srgbClr val="7F7F7F"/>
              </a:solidFill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190519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2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858" y="22046"/>
            <a:ext cx="10688542" cy="755438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274998" y="552554"/>
            <a:ext cx="6838513" cy="437027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algn="r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2800" b="1" cap="all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+mj-ea"/>
                <a:cs typeface="+mj-cs"/>
              </a:rPr>
              <a:t>НИОКР</a:t>
            </a:r>
            <a:endParaRPr lang="ru-RU" sz="2800" b="1" cap="all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+mj-ea"/>
              <a:cs typeface="+mj-cs"/>
            </a:endParaRPr>
          </a:p>
        </p:txBody>
      </p:sp>
      <p:pic>
        <p:nvPicPr>
          <p:cNvPr id="6" name="Picture 2" descr="C:\Users\olesya.grigoreva\Desktop\71555 - копия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2386" y="3029378"/>
            <a:ext cx="2791044" cy="3769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629836" y="4424787"/>
            <a:ext cx="1989759" cy="1582652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/>
          <a:p>
            <a:pPr algn="ctr"/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В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201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7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г. предприятиями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</a:b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ГК «Римера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»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получено</a:t>
            </a:r>
            <a:r>
              <a:rPr 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12 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itchFamily="34" charset="0"/>
                <a:cs typeface="Arial" pitchFamily="34" charset="0"/>
              </a:rPr>
              <a:t>патентов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Arial Narrow" pitchFamily="34" charset="0"/>
              <a:cs typeface="Arial" pitchFamily="34" charset="0"/>
            </a:endParaRPr>
          </a:p>
          <a:p>
            <a:pPr algn="ctr"/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  <a:p>
            <a:pPr algn="ctr"/>
            <a:r>
              <a:rPr lang="ru-RU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ВСЕГО 35</a:t>
            </a:r>
            <a:endParaRPr lang="ru-RU" sz="1600" b="1" dirty="0">
              <a:solidFill>
                <a:srgbClr val="C0000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0581" y="3031789"/>
            <a:ext cx="5314747" cy="323149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r>
              <a:rPr lang="ru-RU" sz="15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КЛЮЧЕВЫЕ НАПРАВЛЕНИЯ РАЗРАБОТОК 2015-2017 ГГ.</a:t>
            </a:r>
            <a:endParaRPr lang="ru-RU" sz="1500" b="1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49500" y="3473968"/>
            <a:ext cx="4735694" cy="3265164"/>
          </a:xfrm>
          <a:prstGeom prst="rect">
            <a:avLst/>
          </a:prstGeom>
        </p:spPr>
        <p:txBody>
          <a:bodyPr wrap="square" lIns="104306" tIns="52153" rIns="104306" bIns="52153">
            <a:spAutoFit/>
          </a:bodyPr>
          <a:lstStyle/>
          <a:p>
            <a:pPr marL="190800" indent="-190800" algn="just">
              <a:spcBef>
                <a:spcPts val="156"/>
              </a:spcBef>
              <a:spcAft>
                <a:spcPts val="156"/>
              </a:spcAft>
              <a:buClr>
                <a:srgbClr val="106A6A"/>
              </a:buClr>
              <a:buFont typeface="Wingdings" pitchFamily="2" charset="2"/>
              <a:buChar char="§"/>
            </a:pPr>
            <a:r>
              <a:rPr lang="ru-RU" sz="1600" dirty="0" err="1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Импортозамещение</a:t>
            </a:r>
            <a:r>
              <a:rPr lang="ru-RU" sz="1600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  (высокопроизводительные </a:t>
            </a:r>
            <a:r>
              <a:rPr lang="ru-RU" sz="1600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насосы, аналоги импорта</a:t>
            </a:r>
            <a:r>
              <a:rPr lang="ru-RU" sz="1600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)</a:t>
            </a:r>
            <a:endParaRPr lang="ru-RU" sz="1600" dirty="0">
              <a:solidFill>
                <a:srgbClr val="3AA08F"/>
              </a:solidFill>
              <a:latin typeface="Arial Narrow" pitchFamily="34" charset="0"/>
              <a:cs typeface="Arial" pitchFamily="34" charset="0"/>
            </a:endParaRPr>
          </a:p>
          <a:p>
            <a:pPr marL="190800" indent="-190800" algn="just">
              <a:spcBef>
                <a:spcPts val="156"/>
              </a:spcBef>
              <a:spcAft>
                <a:spcPts val="156"/>
              </a:spcAft>
              <a:buClr>
                <a:srgbClr val="106A6A"/>
              </a:buClr>
              <a:buFont typeface="Wingdings" pitchFamily="2" charset="2"/>
              <a:buChar char="§"/>
            </a:pPr>
            <a:r>
              <a:rPr lang="ru-RU" sz="1600" dirty="0" err="1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Энергоэффективное</a:t>
            </a:r>
            <a:r>
              <a:rPr lang="ru-RU" sz="1600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 оборудование (насосы с высоким КПД по требованиям нефтяников</a:t>
            </a:r>
            <a:r>
              <a:rPr lang="ru-RU" sz="1600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)</a:t>
            </a:r>
            <a:endParaRPr lang="ru-RU" sz="1600" dirty="0">
              <a:solidFill>
                <a:srgbClr val="3AA08F"/>
              </a:solidFill>
              <a:latin typeface="Arial Narrow" pitchFamily="34" charset="0"/>
              <a:cs typeface="Arial" pitchFamily="34" charset="0"/>
            </a:endParaRPr>
          </a:p>
          <a:p>
            <a:pPr marL="190800" indent="-190800" algn="just">
              <a:spcBef>
                <a:spcPts val="156"/>
              </a:spcBef>
              <a:spcAft>
                <a:spcPts val="156"/>
              </a:spcAft>
              <a:buClr>
                <a:srgbClr val="106A6A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Оборудование для осложненного </a:t>
            </a:r>
            <a:r>
              <a:rPr lang="ru-RU" sz="1600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фонда (для скважин с высоким газовым фактором, с большим количеством </a:t>
            </a:r>
            <a:r>
              <a:rPr lang="ru-RU" sz="1600" dirty="0" err="1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мехпримесей</a:t>
            </a:r>
            <a:r>
              <a:rPr lang="ru-RU" sz="1600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)</a:t>
            </a:r>
            <a:endParaRPr lang="en-US" sz="1600" dirty="0" smtClean="0">
              <a:solidFill>
                <a:srgbClr val="3AA08F"/>
              </a:solidFill>
              <a:latin typeface="Arial Narrow" pitchFamily="34" charset="0"/>
              <a:cs typeface="Arial" pitchFamily="34" charset="0"/>
            </a:endParaRPr>
          </a:p>
          <a:p>
            <a:pPr marL="190800" indent="-190800" algn="just">
              <a:spcBef>
                <a:spcPts val="156"/>
              </a:spcBef>
              <a:spcAft>
                <a:spcPts val="156"/>
              </a:spcAft>
              <a:buClr>
                <a:srgbClr val="106A6A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Оборудование с высокой скоростью возврата инвестиций </a:t>
            </a:r>
            <a:r>
              <a:rPr lang="ru-RU" sz="1600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(двигатели </a:t>
            </a:r>
            <a:r>
              <a:rPr lang="ru-RU" sz="1600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с повышенным напряжением) </a:t>
            </a:r>
          </a:p>
          <a:p>
            <a:pPr marL="190800" indent="-190800" algn="just">
              <a:spcBef>
                <a:spcPts val="156"/>
              </a:spcBef>
              <a:spcAft>
                <a:spcPts val="156"/>
              </a:spcAft>
              <a:buClr>
                <a:srgbClr val="106A6A"/>
              </a:buClr>
              <a:buFont typeface="Wingdings" pitchFamily="2" charset="2"/>
              <a:buChar char="§"/>
            </a:pPr>
            <a:r>
              <a:rPr lang="ru-RU" sz="1600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Оборудование для установок малого габарита </a:t>
            </a:r>
            <a:r>
              <a:rPr lang="ru-RU" sz="1600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600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       (для боковых стволов и скважин с техническими ограничениями)</a:t>
            </a:r>
            <a:endParaRPr lang="ru-RU" sz="1600" dirty="0">
              <a:solidFill>
                <a:srgbClr val="3AA08F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60354" y="1367385"/>
            <a:ext cx="9553157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Предприятия группы компаний «Римера» обладают мощной материально-технической  базой и научным потенциалом для осуществления исследовательской деятельности в области нефтедобычи.</a:t>
            </a:r>
            <a:r>
              <a:rPr lang="ru-RU" sz="1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 </a:t>
            </a:r>
            <a:endParaRPr lang="ru-RU" sz="1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  <a:p>
            <a:pPr algn="just"/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Центр исследований и разработок (</a:t>
            </a:r>
            <a:r>
              <a:rPr lang="ru-RU" sz="16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ЦИиР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)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 координирует исследовательскую деятельность предприятий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группы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,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определяет 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развитие и разработку новых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технологий</a:t>
            </a:r>
            <a:r>
              <a:rPr lang="en-US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и оборудования, </a:t>
            </a:r>
            <a:r>
              <a:rPr lang="ru-RU" sz="16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исходя из актуальных требований клиента и рынка в целом.</a:t>
            </a:r>
          </a:p>
        </p:txBody>
      </p:sp>
      <p:sp>
        <p:nvSpPr>
          <p:cNvPr id="12" name="Номер слайда 26"/>
          <p:cNvSpPr txBox="1">
            <a:spLocks/>
          </p:cNvSpPr>
          <p:nvPr/>
        </p:nvSpPr>
        <p:spPr>
          <a:xfrm>
            <a:off x="7847030" y="6852465"/>
            <a:ext cx="428628" cy="500066"/>
          </a:xfrm>
          <a:prstGeom prst="rect">
            <a:avLst/>
          </a:prstGeom>
        </p:spPr>
        <p:txBody>
          <a:bodyPr vert="horz" lIns="99569" tIns="49785" rIns="99569" bIns="49785" rtlCol="0" anchor="ctr"/>
          <a:lstStyle/>
          <a:p>
            <a:pPr marL="0" marR="0" lvl="0" indent="0" algn="ctr" defTabSz="995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ctr" defTabSz="9956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551338" y="3354938"/>
            <a:ext cx="4532018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847030" y="3625695"/>
            <a:ext cx="2214578" cy="30028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9569" tIns="49785" rIns="99569" bIns="49785">
            <a:spAutoFit/>
          </a:bodyPr>
          <a:lstStyle/>
          <a:p>
            <a:pPr lvl="0" algn="ctr" defTabSz="926545" fontAlgn="base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23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До</a:t>
            </a:r>
            <a:r>
              <a:rPr lang="ru-RU" sz="2300" b="1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 30 </a:t>
            </a:r>
            <a:r>
              <a:rPr lang="ru-RU" sz="23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модификаций и новых продуктов </a:t>
            </a:r>
            <a:r>
              <a:rPr lang="en-US" sz="23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  </a:t>
            </a:r>
            <a:r>
              <a:rPr lang="ru-RU" sz="23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в год выводят на рынок предприятия </a:t>
            </a:r>
          </a:p>
          <a:p>
            <a:pPr lvl="0" algn="ctr" defTabSz="926545" fontAlgn="base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23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ГК «Римера» </a:t>
            </a:r>
            <a:endParaRPr lang="ru-RU" sz="2300" b="1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pic>
        <p:nvPicPr>
          <p:cNvPr id="24" name="Рисунок 23" descr="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2944" y="0"/>
            <a:ext cx="10688542" cy="7554380"/>
          </a:xfrm>
          <a:prstGeom prst="rect">
            <a:avLst/>
          </a:prstGeom>
        </p:spPr>
      </p:pic>
      <p:pic>
        <p:nvPicPr>
          <p:cNvPr id="14" name="Рисунок 13" descr="Рисунок2.jpg"/>
          <p:cNvPicPr>
            <a:picLocks noChangeAspect="1"/>
          </p:cNvPicPr>
          <p:nvPr/>
        </p:nvPicPr>
        <p:blipFill rotWithShape="1">
          <a:blip r:embed="rId4" cstate="print"/>
          <a:srcRect b="14828"/>
          <a:stretch/>
        </p:blipFill>
        <p:spPr>
          <a:xfrm>
            <a:off x="1059678" y="2137557"/>
            <a:ext cx="5546368" cy="2938167"/>
          </a:xfrm>
          <a:prstGeom prst="rect">
            <a:avLst/>
          </a:prstGeom>
        </p:spPr>
      </p:pic>
      <p:sp>
        <p:nvSpPr>
          <p:cNvPr id="6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847030" y="6852465"/>
            <a:ext cx="428628" cy="500066"/>
          </a:xfrm>
        </p:spPr>
        <p:txBody>
          <a:bodyPr/>
          <a:lstStyle/>
          <a:p>
            <a:pPr algn="ctr"/>
            <a:fld id="{725C68B6-61C2-468F-89AB-4B9F7531AA68}" type="slidenum">
              <a:rPr lang="ru-RU" sz="1600" b="1" smtClean="0"/>
              <a:pPr algn="ctr"/>
              <a:t>12</a:t>
            </a:fld>
            <a:endParaRPr lang="ru-RU" sz="1600" b="1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4804362" y="1"/>
            <a:ext cx="5328684" cy="1239838"/>
          </a:xfrm>
          <a:prstGeom prst="rect">
            <a:avLst/>
          </a:prstGeom>
        </p:spPr>
        <p:txBody>
          <a:bodyPr vert="horz" lIns="99569" tIns="49785" rIns="99569" bIns="49785" rtlCol="0" anchor="ctr">
            <a:normAutofit/>
          </a:bodyPr>
          <a:lstStyle/>
          <a:p>
            <a:pPr marL="0" marR="0" lvl="0" indent="0" algn="r" defTabSz="99569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+mj-ea"/>
                <a:cs typeface="+mj-cs"/>
              </a:rPr>
              <a:t>КОНКУРЕНТНЫЕ ПРЕИМУЩЕСТВА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12" name="Text Box 393"/>
          <p:cNvSpPr txBox="1">
            <a:spLocks noChangeArrowheads="1"/>
          </p:cNvSpPr>
          <p:nvPr/>
        </p:nvSpPr>
        <p:spPr bwMode="auto">
          <a:xfrm>
            <a:off x="1688544" y="2376526"/>
            <a:ext cx="6231636" cy="5896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19037" tIns="48718" rIns="95188" bIns="47594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52475">
              <a:lnSpc>
                <a:spcPct val="75000"/>
              </a:lnSpc>
              <a:spcBef>
                <a:spcPct val="50000"/>
              </a:spcBef>
            </a:pPr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ЧТПЗ, ПНТЗ, СОТ, ЭТЕРНО, </a:t>
            </a:r>
            <a:r>
              <a:rPr lang="en-US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MSA</a:t>
            </a:r>
            <a:endParaRPr lang="ru-RU" sz="1600" b="1" dirty="0" smtClean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  <a:p>
            <a:pPr algn="ctr" defTabSz="952475">
              <a:lnSpc>
                <a:spcPct val="75000"/>
              </a:lnSpc>
              <a:spcBef>
                <a:spcPct val="50000"/>
              </a:spcBef>
            </a:pPr>
            <a:endParaRPr lang="ru-RU" sz="1600" b="1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19" name="Picture 2" descr="X:\PR\PUBLIC RELATION\Логотипы\Логотипы группы и предприятий\1 ГК РИМЕРА\Logo Rimera_vertikal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6859" y="2324415"/>
            <a:ext cx="516513" cy="64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C:\Users\Irina.Kozhukhovskaya\Desktop\ФБ\Фотоальбомы\Алнас\Алнас, цех упаковки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0264" y="3924647"/>
            <a:ext cx="1631564" cy="1151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" descr="I:\PR\Этерно\ASH_6760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0757" y="3924649"/>
            <a:ext cx="1665517" cy="1151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5" descr="X:\Фотогалерея\для Белой скважины\rs\_O7D8084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2" t="7051" r="3330"/>
          <a:stretch/>
        </p:blipFill>
        <p:spPr bwMode="auto">
          <a:xfrm>
            <a:off x="7703809" y="3921659"/>
            <a:ext cx="1631564" cy="1151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28" y="2171307"/>
            <a:ext cx="834716" cy="10001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7478261" y="2306764"/>
            <a:ext cx="9044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РИМЕРА</a:t>
            </a:r>
            <a:endParaRPr lang="ru-RU" sz="1600" dirty="0"/>
          </a:p>
        </p:txBody>
      </p:sp>
      <p:pic>
        <p:nvPicPr>
          <p:cNvPr id="15" name="Picture 2" descr="C:\Users\Irina.Kozhukhovskaya\Desktop\ФБ\!посты 2016\апрель\Нефтепроводы\DSC_1915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1"/>
          <a:stretch/>
        </p:blipFill>
        <p:spPr bwMode="auto">
          <a:xfrm>
            <a:off x="1292078" y="3924646"/>
            <a:ext cx="1631564" cy="1138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631791" y="1491226"/>
            <a:ext cx="94298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УНИКАЛЬНЫЙ</a:t>
            </a:r>
            <a:r>
              <a:rPr lang="ru-RU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 </a:t>
            </a:r>
            <a:r>
              <a:rPr lang="ru-RU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НАБОР АКТИВОВ В СОСТАВЕ ГРУППЫ ЧТПЗ ПОЗВОЛЯЕТ ГК «РИМЕРА»</a:t>
            </a:r>
            <a:endParaRPr lang="en-US" sz="1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ФОРМИРОВАТЬ КОМПЛЕКСНОЕ ПРЕДЛОЖЕНИЕ ДЛЯ КОМПАНИЙ И ПРЕДПРИЯТИЙ ТЭК</a:t>
            </a:r>
            <a:endParaRPr lang="ru-RU" sz="18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7" name="TextBox 22"/>
          <p:cNvSpPr txBox="1"/>
          <p:nvPr/>
        </p:nvSpPr>
        <p:spPr>
          <a:xfrm>
            <a:off x="1632836" y="5293831"/>
            <a:ext cx="3201071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defRPr/>
            </a:pPr>
            <a:endParaRPr lang="ru-RU" sz="13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/>
            </a:endParaRPr>
          </a:p>
          <a:p>
            <a:pPr algn="r">
              <a:defRPr/>
            </a:pP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Решение специфических</a:t>
            </a:r>
            <a:r>
              <a:rPr lang="ru-RU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 </a:t>
            </a: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задач </a:t>
            </a:r>
            <a:r>
              <a:rPr lang="ru-RU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клиента</a:t>
            </a:r>
          </a:p>
          <a:p>
            <a:pPr algn="r">
              <a:defRPr/>
            </a:pPr>
            <a:endParaRPr lang="ru-RU" sz="13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/>
            </a:endParaRPr>
          </a:p>
          <a:p>
            <a:pPr algn="r">
              <a:defRPr/>
            </a:pP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Комплексная </a:t>
            </a:r>
            <a:r>
              <a:rPr lang="ru-RU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поставка </a:t>
            </a:r>
            <a:endParaRPr lang="ru-RU" sz="13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/>
            </a:endParaRPr>
          </a:p>
          <a:p>
            <a:pPr algn="r">
              <a:defRPr/>
            </a:pP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оборудования</a:t>
            </a:r>
            <a:r>
              <a:rPr lang="en-US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 </a:t>
            </a: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и услуг </a:t>
            </a:r>
          </a:p>
          <a:p>
            <a:pPr algn="r">
              <a:defRPr/>
            </a:pPr>
            <a:endParaRPr lang="ru-RU" sz="13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/>
            </a:endParaRPr>
          </a:p>
          <a:p>
            <a:pPr algn="r">
              <a:defRPr/>
            </a:pPr>
            <a:r>
              <a:rPr lang="ru-RU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Прокат оборудования и организация </a:t>
            </a:r>
            <a:endParaRPr lang="en-US" sz="13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/>
            </a:endParaRPr>
          </a:p>
          <a:p>
            <a:pPr algn="r">
              <a:defRPr/>
            </a:pP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сервисной </a:t>
            </a:r>
            <a:r>
              <a:rPr lang="ru-RU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/>
              </a:rPr>
              <a:t>точки на объекте заказчика</a:t>
            </a:r>
          </a:p>
          <a:p>
            <a:pPr algn="r">
              <a:defRPr/>
            </a:pPr>
            <a:endParaRPr lang="ru-RU" sz="18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/>
            </a:endParaRPr>
          </a:p>
        </p:txBody>
      </p:sp>
      <p:sp>
        <p:nvSpPr>
          <p:cNvPr id="28" name="TextBox 22"/>
          <p:cNvSpPr txBox="1"/>
          <p:nvPr/>
        </p:nvSpPr>
        <p:spPr>
          <a:xfrm>
            <a:off x="5515715" y="5508307"/>
            <a:ext cx="4223473" cy="12926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300" dirty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Эффективная работа на конкретном объекте</a:t>
            </a:r>
          </a:p>
          <a:p>
            <a:pPr>
              <a:defRPr/>
            </a:pPr>
            <a:endParaRPr lang="ru-RU" sz="1300" dirty="0" smtClean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  <a:p>
            <a:pPr>
              <a:defRPr/>
            </a:pPr>
            <a:r>
              <a:rPr lang="ru-RU" sz="1300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Сокращение </a:t>
            </a:r>
            <a:r>
              <a:rPr lang="ru-RU" sz="1300" dirty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административных издержек и расходов на </a:t>
            </a:r>
            <a:r>
              <a:rPr lang="ru-RU" sz="1300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логистику, единый стандарт качества</a:t>
            </a:r>
            <a:endParaRPr lang="ru-RU" sz="1300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  <a:p>
            <a:pPr>
              <a:defRPr/>
            </a:pPr>
            <a:endParaRPr lang="en-US" sz="1300" dirty="0" smtClean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  <a:p>
            <a:pPr>
              <a:defRPr/>
            </a:pPr>
            <a:r>
              <a:rPr lang="ru-RU" sz="1300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Выгодная </a:t>
            </a:r>
            <a:r>
              <a:rPr lang="ru-RU" sz="1300" dirty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клиенту модель </a:t>
            </a:r>
            <a:r>
              <a:rPr lang="ru-RU" sz="1300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сотрудничества</a:t>
            </a:r>
            <a:endParaRPr lang="ru-RU" sz="1300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29" name="Рисунок 28" descr="270_Rimera_pres_ER_rev4.jpg"/>
          <p:cNvPicPr>
            <a:picLocks noChangeAspect="1"/>
          </p:cNvPicPr>
          <p:nvPr/>
        </p:nvPicPr>
        <p:blipFill rotWithShape="1">
          <a:blip r:embed="rId11" cstate="print"/>
          <a:srcRect l="37766" t="54065" r="52137" b="15924"/>
          <a:stretch/>
        </p:blipFill>
        <p:spPr>
          <a:xfrm>
            <a:off x="4879977" y="5365323"/>
            <a:ext cx="682672" cy="1435646"/>
          </a:xfrm>
          <a:prstGeom prst="rect">
            <a:avLst/>
          </a:prstGeom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9625716" y="562073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195444" y="302802"/>
            <a:ext cx="7688017" cy="878628"/>
          </a:xfrm>
        </p:spPr>
        <p:txBody>
          <a:bodyPr>
            <a:noAutofit/>
          </a:bodyPr>
          <a:lstStyle/>
          <a:p>
            <a:r>
              <a:rPr lang="ru-RU" sz="2646" dirty="0">
                <a:solidFill>
                  <a:schemeClr val="bg1">
                    <a:lumMod val="50000"/>
                  </a:schemeClr>
                </a:solidFill>
              </a:rPr>
              <a:t>ИННОВАЦИОННЫЕ ПРОЕКТЫ</a:t>
            </a:r>
            <a:br>
              <a:rPr lang="ru-RU" sz="2646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2646" dirty="0">
                <a:solidFill>
                  <a:srgbClr val="3AA08F"/>
                </a:solidFill>
              </a:rPr>
              <a:t>ПРОЕКТ «БЕЛАЯ СКВАЖИНА»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06526"/>
            <a:fld id="{A2AE5357-0EF1-4AE0-A6D9-5A1EFB67B5F9}" type="slidenum">
              <a:rPr lang="ru-RU" sz="1600" b="1">
                <a:solidFill>
                  <a:srgbClr val="7F7F7F"/>
                </a:solidFill>
                <a:latin typeface="Arial Narrow"/>
              </a:rPr>
              <a:pPr defTabSz="1006526"/>
              <a:t>13</a:t>
            </a:fld>
            <a:endParaRPr lang="ru-RU" sz="1600" b="1" dirty="0">
              <a:solidFill>
                <a:srgbClr val="7F7F7F"/>
              </a:solidFill>
              <a:latin typeface="Arial Narrow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33310" y="3288122"/>
            <a:ext cx="3927327" cy="365409"/>
          </a:xfrm>
          <a:prstGeom prst="rect">
            <a:avLst/>
          </a:prstGeom>
          <a:noFill/>
        </p:spPr>
        <p:txBody>
          <a:bodyPr wrap="square" lIns="109779" tIns="54890" rIns="109779" bIns="54890" rtlCol="0">
            <a:spAutoFit/>
          </a:bodyPr>
          <a:lstStyle/>
          <a:p>
            <a:pPr algn="just" defTabSz="1006526"/>
            <a:r>
              <a:rPr lang="ru-RU" sz="1654" b="1" dirty="0">
                <a:solidFill>
                  <a:srgbClr val="006666"/>
                </a:solidFill>
                <a:latin typeface="Arial Narrow" pitchFamily="34" charset="0"/>
              </a:rPr>
              <a:t>ПРЕИМУЩЕСТВА</a:t>
            </a:r>
            <a:endParaRPr lang="en-US" sz="1654" b="1" dirty="0">
              <a:solidFill>
                <a:srgbClr val="006666"/>
              </a:solidFill>
              <a:latin typeface="Arial Narrow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053918" y="3647241"/>
            <a:ext cx="3859420" cy="1006738"/>
          </a:xfrm>
          <a:prstGeom prst="rect">
            <a:avLst/>
          </a:prstGeom>
        </p:spPr>
        <p:txBody>
          <a:bodyPr wrap="square" lIns="109779" tIns="54890" rIns="109779" bIns="54890">
            <a:spAutoFit/>
          </a:bodyPr>
          <a:lstStyle/>
          <a:p>
            <a:pPr marL="213451" indent="-213451" algn="just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Комплексный подход к сервису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13451" indent="-213451" algn="just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Увеличение наработки оборудования в осложненных условиях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13451" indent="-213451" algn="just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Оптимизация и рост добычи нефти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33309" y="4799388"/>
            <a:ext cx="3150548" cy="365409"/>
          </a:xfrm>
          <a:prstGeom prst="rect">
            <a:avLst/>
          </a:prstGeom>
          <a:noFill/>
        </p:spPr>
        <p:txBody>
          <a:bodyPr wrap="square" lIns="109779" tIns="54890" rIns="109779" bIns="54890" rtlCol="0">
            <a:spAutoFit/>
          </a:bodyPr>
          <a:lstStyle/>
          <a:p>
            <a:pPr algn="just" defTabSz="1006526"/>
            <a:r>
              <a:rPr lang="ru-RU" sz="1654" b="1" dirty="0">
                <a:solidFill>
                  <a:srgbClr val="006666"/>
                </a:solidFill>
                <a:latin typeface="Arial Narrow" pitchFamily="34" charset="0"/>
              </a:rPr>
              <a:t>КЛЮЧЕВЫЕ ЭЛЕМЕНТЫ</a:t>
            </a:r>
            <a:endParaRPr lang="en-US" sz="1654" b="1" dirty="0">
              <a:solidFill>
                <a:srgbClr val="006666"/>
              </a:solidFill>
              <a:latin typeface="Arial Narrow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94139" y="5175922"/>
            <a:ext cx="4252562" cy="1780605"/>
          </a:xfrm>
          <a:prstGeom prst="rect">
            <a:avLst/>
          </a:prstGeom>
        </p:spPr>
        <p:txBody>
          <a:bodyPr wrap="square" lIns="109779" tIns="54890" rIns="109779" bIns="54890">
            <a:spAutoFit/>
          </a:bodyPr>
          <a:lstStyle/>
          <a:p>
            <a:pPr marL="213451" indent="-213451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Коррозионно- и </a:t>
            </a:r>
            <a:r>
              <a:rPr lang="ru-RU" sz="1323" dirty="0" err="1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абразивостойкие</a:t>
            </a: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 УЭЦН</a:t>
            </a:r>
            <a:r>
              <a:rPr lang="en-US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</a:p>
          <a:p>
            <a:pPr marL="213451" indent="-213451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Коррозионностойкие НКТ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13451" indent="-213451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Обслуживание и ремонт УЭЦН и НКТ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13451" indent="-213451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Подбор оборудования</a:t>
            </a:r>
          </a:p>
          <a:p>
            <a:pPr marL="213451" indent="-213451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Ввод в эксплуатацию, монтаж, демонтаж оборудования</a:t>
            </a:r>
          </a:p>
          <a:p>
            <a:pPr marL="213451" indent="-213451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Анализ отказов и мониторинг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13451" indent="-213451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Лизинг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267308" y="5130298"/>
            <a:ext cx="3493703" cy="15798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9779" tIns="54890" rIns="109779" bIns="54890" rtlCol="0">
            <a:spAutoFit/>
          </a:bodyPr>
          <a:lstStyle/>
          <a:p>
            <a:pPr algn="ctr" defTabSz="1006526">
              <a:spcAft>
                <a:spcPts val="662"/>
              </a:spcAft>
            </a:pPr>
            <a:r>
              <a:rPr lang="ru-RU" sz="1764" b="1" dirty="0">
                <a:solidFill>
                  <a:srgbClr val="006666"/>
                </a:solidFill>
                <a:latin typeface="Arial Narrow" pitchFamily="34" charset="0"/>
                <a:cs typeface="Arial" pitchFamily="34" charset="0"/>
              </a:rPr>
              <a:t>РОСТ НАРАБОТКИ – </a:t>
            </a:r>
            <a:r>
              <a:rPr lang="ru-RU" sz="2205" b="1" dirty="0">
                <a:solidFill>
                  <a:srgbClr val="C00000"/>
                </a:solidFill>
                <a:latin typeface="Arial Narrow" pitchFamily="34" charset="0"/>
              </a:rPr>
              <a:t>3-8 раз</a:t>
            </a:r>
          </a:p>
          <a:p>
            <a:pPr algn="ctr" defTabSz="1006526">
              <a:spcAft>
                <a:spcPts val="662"/>
              </a:spcAft>
            </a:pPr>
            <a:r>
              <a:rPr lang="ru-RU" sz="1764" b="1" dirty="0">
                <a:solidFill>
                  <a:srgbClr val="006666"/>
                </a:solidFill>
                <a:latin typeface="Arial Narrow" pitchFamily="34" charset="0"/>
                <a:cs typeface="Arial" pitchFamily="34" charset="0"/>
              </a:rPr>
              <a:t>РОСТ ДОБЫЧИ НЕФТИ – </a:t>
            </a:r>
            <a:r>
              <a:rPr lang="ru-RU" sz="2205" b="1" dirty="0">
                <a:solidFill>
                  <a:srgbClr val="C00000"/>
                </a:solidFill>
                <a:latin typeface="Arial Narrow" pitchFamily="34" charset="0"/>
              </a:rPr>
              <a:t>1-5%</a:t>
            </a:r>
          </a:p>
          <a:p>
            <a:pPr algn="ctr" defTabSz="1006526">
              <a:spcAft>
                <a:spcPts val="662"/>
              </a:spcAft>
            </a:pPr>
            <a:r>
              <a:rPr lang="ru-RU" sz="1764" b="1" dirty="0">
                <a:solidFill>
                  <a:srgbClr val="006666"/>
                </a:solidFill>
                <a:latin typeface="Arial Narrow" pitchFamily="34" charset="0"/>
                <a:cs typeface="Arial" pitchFamily="34" charset="0"/>
              </a:rPr>
              <a:t>ОКУПАЕМОСТЬ ЗАТРАТ НА БЕЛУЮ СКВАЖИНУ – </a:t>
            </a:r>
            <a:r>
              <a:rPr lang="ru-RU" sz="2205" b="1" dirty="0">
                <a:solidFill>
                  <a:srgbClr val="C00000"/>
                </a:solidFill>
                <a:latin typeface="Arial Narrow" pitchFamily="34" charset="0"/>
              </a:rPr>
              <a:t>4 месяц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1133310" y="1637043"/>
            <a:ext cx="3736540" cy="646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1212702" y="5165552"/>
            <a:ext cx="382025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132680" y="1244996"/>
            <a:ext cx="3701894" cy="365409"/>
          </a:xfrm>
          <a:prstGeom prst="rect">
            <a:avLst/>
          </a:prstGeom>
          <a:noFill/>
        </p:spPr>
        <p:txBody>
          <a:bodyPr wrap="square" lIns="109779" tIns="54890" rIns="109779" bIns="54890" rtlCol="0">
            <a:spAutoFit/>
          </a:bodyPr>
          <a:lstStyle/>
          <a:p>
            <a:pPr algn="just" defTabSz="1006526"/>
            <a:r>
              <a:rPr lang="ru-RU" sz="1654" b="1" dirty="0">
                <a:solidFill>
                  <a:srgbClr val="006666"/>
                </a:solidFill>
                <a:latin typeface="Arial Narrow" pitchFamily="34" charset="0"/>
              </a:rPr>
              <a:t>ОБЛАСТЬ ПРИМЕНЕНИЯ</a:t>
            </a:r>
            <a:endParaRPr lang="en-US" sz="1433" b="1" dirty="0">
              <a:solidFill>
                <a:srgbClr val="006666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037563" y="1637043"/>
            <a:ext cx="3875775" cy="1495462"/>
          </a:xfrm>
          <a:prstGeom prst="rect">
            <a:avLst/>
          </a:prstGeom>
        </p:spPr>
        <p:txBody>
          <a:bodyPr wrap="square" lIns="109779" tIns="54890" rIns="109779" bIns="54890">
            <a:spAutoFit/>
          </a:bodyPr>
          <a:lstStyle/>
          <a:p>
            <a:pPr marL="213451" indent="-213451" algn="just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Коррозионные внутрискважинные условия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13451" indent="-213451" algn="just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Скважины с высоким газовым фактором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13451" indent="-213451" algn="just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Скважины с повышенным выносом </a:t>
            </a:r>
            <a:r>
              <a:rPr lang="ru-RU" sz="1323" dirty="0" err="1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мехпримесей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13451" indent="-213451" algn="just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Внутрискважинные условия, приводящие к </a:t>
            </a:r>
            <a:r>
              <a:rPr lang="ru-RU" sz="1323" dirty="0" err="1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солеотложениям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13451" indent="-213451" algn="just" defTabSz="1021516" fontAlgn="base">
              <a:spcBef>
                <a:spcPct val="10000"/>
              </a:spcBef>
              <a:spcAft>
                <a:spcPct val="10000"/>
              </a:spcAft>
              <a:buClr>
                <a:srgbClr val="006666"/>
              </a:buClr>
              <a:buSzPct val="90000"/>
              <a:buFont typeface="Wingdings" pitchFamily="2" charset="2"/>
              <a:buChar char="§"/>
            </a:pPr>
            <a:r>
              <a:rPr 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Высокотемпературные скважины</a:t>
            </a:r>
            <a:endParaRPr lang="en-US" sz="1323" dirty="0">
              <a:solidFill>
                <a:srgbClr val="7F7F7F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1138916" y="3687470"/>
            <a:ext cx="3736540" cy="646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9410" name="Picture 2" descr="N:\Коммерческая дирекция\Управление анализа рынка\Внутренние\!ПРЕЗЕНТАЦИИ\2017\IRAQ\ФОТО\1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7306" y="1403866"/>
            <a:ext cx="4580605" cy="3395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I:\Маркетинговые коммуникации\Римера\Белая скважина\Логотипы\logo_additional_rus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45" t="29676" r="34333" b="30310"/>
          <a:stretch/>
        </p:blipFill>
        <p:spPr bwMode="auto">
          <a:xfrm>
            <a:off x="8761010" y="5123234"/>
            <a:ext cx="1041214" cy="1577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475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9625716" y="562073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646" dirty="0">
                <a:solidFill>
                  <a:srgbClr val="3AA08F"/>
                </a:solidFill>
              </a:rPr>
              <a:t/>
            </a:r>
            <a:br>
              <a:rPr lang="en-US" sz="2646" dirty="0">
                <a:solidFill>
                  <a:srgbClr val="3AA08F"/>
                </a:solidFill>
              </a:rPr>
            </a:br>
            <a:r>
              <a:rPr lang="ru-RU" sz="2646" dirty="0">
                <a:solidFill>
                  <a:srgbClr val="3AA08F"/>
                </a:solidFill>
              </a:rPr>
              <a:t>ОБУЧЕНИЕ И ФОРМИРОВАНИЕ </a:t>
            </a:r>
            <a:br>
              <a:rPr lang="ru-RU" sz="2646" dirty="0">
                <a:solidFill>
                  <a:srgbClr val="3AA08F"/>
                </a:solidFill>
              </a:rPr>
            </a:br>
            <a:r>
              <a:rPr lang="ru-RU" sz="2646" dirty="0">
                <a:solidFill>
                  <a:srgbClr val="3AA08F"/>
                </a:solidFill>
              </a:rPr>
              <a:t>КАДРОВОГО РЕЗЕРВА</a:t>
            </a:r>
            <a:br>
              <a:rPr lang="ru-RU" sz="2646" dirty="0">
                <a:solidFill>
                  <a:srgbClr val="3AA08F"/>
                </a:solidFill>
              </a:rPr>
            </a:br>
            <a:endParaRPr lang="ru-RU" sz="2646" dirty="0">
              <a:solidFill>
                <a:srgbClr val="3AA08F"/>
              </a:solidFill>
            </a:endParaRP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7640335" y="6956317"/>
            <a:ext cx="729892" cy="371600"/>
          </a:xfrm>
        </p:spPr>
        <p:txBody>
          <a:bodyPr/>
          <a:lstStyle/>
          <a:p>
            <a:pPr defTabSz="1006526"/>
            <a:fld id="{A2AE5357-0EF1-4AE0-A6D9-5A1EFB67B5F9}" type="slidenum">
              <a:rPr lang="ru-RU" sz="1600" b="1">
                <a:solidFill>
                  <a:srgbClr val="7F7F7F"/>
                </a:solidFill>
                <a:latin typeface="Arial Narrow"/>
              </a:rPr>
              <a:pPr defTabSz="1006526"/>
              <a:t>14</a:t>
            </a:fld>
            <a:endParaRPr lang="ru-RU" sz="1600" b="1" dirty="0">
              <a:solidFill>
                <a:srgbClr val="7F7F7F"/>
              </a:solidFill>
              <a:latin typeface="Arial Narrow"/>
            </a:endParaRPr>
          </a:p>
        </p:txBody>
      </p:sp>
      <p:sp>
        <p:nvSpPr>
          <p:cNvPr id="18" name="Объект 2"/>
          <p:cNvSpPr txBox="1">
            <a:spLocks/>
          </p:cNvSpPr>
          <p:nvPr/>
        </p:nvSpPr>
        <p:spPr>
          <a:xfrm>
            <a:off x="821348" y="2494111"/>
            <a:ext cx="4088353" cy="1436115"/>
          </a:xfrm>
          <a:prstGeom prst="rect">
            <a:avLst/>
          </a:prstGeom>
        </p:spPr>
        <p:txBody>
          <a:bodyPr/>
          <a:lstStyle>
            <a:lvl1pPr marL="373384" indent="-373384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998" indent="-311153" algn="l" defTabSz="99569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461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245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4030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14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599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838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683" indent="-248923" algn="l" defTabSz="99569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11656" indent="-396900" algn="just" defTabSz="1097748">
              <a:lnSpc>
                <a:spcPct val="120000"/>
              </a:lnSpc>
              <a:buClr>
                <a:srgbClr val="FF5050">
                  <a:lumMod val="50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«Станочник» (</a:t>
            </a:r>
            <a:r>
              <a:rPr lang="ru-RU" altLang="ru-RU" sz="1323" dirty="0" err="1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металообработка</a:t>
            </a:r>
            <a:r>
              <a:rPr lang="ru-RU" alt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)</a:t>
            </a:r>
          </a:p>
          <a:p>
            <a:pPr marL="411656" indent="-396900" algn="just" defTabSz="1097748">
              <a:lnSpc>
                <a:spcPct val="120000"/>
              </a:lnSpc>
              <a:buClr>
                <a:srgbClr val="FF5050">
                  <a:lumMod val="50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«Электромонтер по ремонту и обслуживанию электрооборудования»</a:t>
            </a:r>
          </a:p>
          <a:p>
            <a:pPr marL="411656" indent="-396900" algn="just" defTabSz="1097748">
              <a:lnSpc>
                <a:spcPct val="120000"/>
              </a:lnSpc>
              <a:buClr>
                <a:srgbClr val="FF5050">
                  <a:lumMod val="50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«Технология машиностроения»</a:t>
            </a:r>
          </a:p>
          <a:p>
            <a:pPr marL="411656" indent="-396900" algn="just" defTabSz="1097748">
              <a:lnSpc>
                <a:spcPct val="120000"/>
              </a:lnSpc>
              <a:buClr>
                <a:srgbClr val="FF5050">
                  <a:lumMod val="50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«Техническая эксплуатация и обслуживание электрического и электротехнического оборудования»</a:t>
            </a:r>
          </a:p>
          <a:p>
            <a:pPr marL="411656" indent="-396900" algn="just" defTabSz="1097748">
              <a:lnSpc>
                <a:spcPct val="120000"/>
              </a:lnSpc>
              <a:buClr>
                <a:srgbClr val="FF5050">
                  <a:lumMod val="50000"/>
                </a:srgbClr>
              </a:buClr>
              <a:buFont typeface="Wingdings" panose="05000000000000000000" pitchFamily="2" charset="2"/>
              <a:buChar char="§"/>
              <a:defRPr/>
            </a:pPr>
            <a:r>
              <a:rPr lang="ru-RU" altLang="ru-RU" sz="1323" dirty="0">
                <a:solidFill>
                  <a:srgbClr val="7F7F7F">
                    <a:lumMod val="50000"/>
                  </a:srgbClr>
                </a:solidFill>
                <a:latin typeface="Arial Narrow" panose="020B0606020202030204" pitchFamily="34" charset="0"/>
              </a:rPr>
              <a:t>«Сварщик ручной и частично механизированной сварки (наплавки)»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60163" y="1306173"/>
            <a:ext cx="9550067" cy="569225"/>
          </a:xfrm>
          <a:prstGeom prst="rect">
            <a:avLst/>
          </a:prstGeom>
          <a:noFill/>
        </p:spPr>
        <p:txBody>
          <a:bodyPr wrap="square" lIns="93056" tIns="46529" rIns="93056" bIns="46529">
            <a:spAutoFit/>
          </a:bodyPr>
          <a:lstStyle/>
          <a:p>
            <a:pPr algn="ctr" defTabSz="1006526">
              <a:defRPr/>
            </a:pPr>
            <a:r>
              <a:rPr lang="ru-RU" sz="1544" b="1" cap="all" dirty="0">
                <a:solidFill>
                  <a:srgbClr val="5F5F5F"/>
                </a:solidFill>
                <a:latin typeface="Arial Narrow"/>
                <a:cs typeface="Arial" pitchFamily="34" charset="0"/>
              </a:rPr>
              <a:t>«Колледж Будущего Татарстана» - ПЛОЩАДКА для подготовки профессиональных кадров</a:t>
            </a:r>
          </a:p>
          <a:p>
            <a:pPr algn="ctr" defTabSz="1006526">
              <a:defRPr/>
            </a:pPr>
            <a:r>
              <a:rPr lang="ru-RU" sz="1544" b="1" cap="all" dirty="0">
                <a:solidFill>
                  <a:srgbClr val="5F5F5F"/>
                </a:solidFill>
                <a:latin typeface="Arial Narrow"/>
                <a:cs typeface="Arial" pitchFamily="34" charset="0"/>
              </a:rPr>
              <a:t>С ключевыми компетенциями по стандартам </a:t>
            </a:r>
            <a:r>
              <a:rPr lang="en-US" sz="1544" b="1" cap="all" dirty="0" err="1">
                <a:solidFill>
                  <a:srgbClr val="5F5F5F"/>
                </a:solidFill>
                <a:latin typeface="Arial Narrow"/>
                <a:cs typeface="Arial" pitchFamily="34" charset="0"/>
              </a:rPr>
              <a:t>worldskills</a:t>
            </a:r>
            <a:endParaRPr lang="ru-RU" sz="1544" b="1" cap="all" dirty="0">
              <a:solidFill>
                <a:srgbClr val="5F5F5F"/>
              </a:solidFill>
              <a:latin typeface="Arial Narrow"/>
              <a:cs typeface="Arial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1217" y="1981425"/>
            <a:ext cx="2190980" cy="1460082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339" y="1981425"/>
            <a:ext cx="2184105" cy="1455500"/>
          </a:xfrm>
          <a:prstGeom prst="rect">
            <a:avLst/>
          </a:prstGeom>
        </p:spPr>
      </p:pic>
      <p:pic>
        <p:nvPicPr>
          <p:cNvPr id="26" name="Picture 6" descr="https://pp.userapi.com/c837421/v837421210/3f40c/YkoeM9KNxg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0442" y="3463062"/>
            <a:ext cx="2180001" cy="1474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96" b="-596"/>
          <a:stretch/>
        </p:blipFill>
        <p:spPr>
          <a:xfrm>
            <a:off x="5377453" y="3463062"/>
            <a:ext cx="2190011" cy="1476839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18" t="41409" r="13098" b="38185"/>
          <a:stretch/>
        </p:blipFill>
        <p:spPr bwMode="auto">
          <a:xfrm>
            <a:off x="594171" y="5271831"/>
            <a:ext cx="9505057" cy="1677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8" t="52681" r="28029" b="35485"/>
          <a:stretch/>
        </p:blipFill>
        <p:spPr bwMode="auto">
          <a:xfrm>
            <a:off x="888468" y="1972277"/>
            <a:ext cx="4210772" cy="511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6820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195444" y="302802"/>
            <a:ext cx="7688017" cy="878628"/>
          </a:xfrm>
        </p:spPr>
        <p:txBody>
          <a:bodyPr>
            <a:noAutofit/>
          </a:bodyPr>
          <a:lstStyle/>
          <a:p>
            <a:r>
              <a:rPr lang="ru-RU" sz="2646" dirty="0">
                <a:solidFill>
                  <a:srgbClr val="3AA08F"/>
                </a:solidFill>
              </a:rPr>
              <a:t>НАШИ КЛЮЧЕВЫЕ КЛИЕНТЫ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06526"/>
            <a:fld id="{A2AE5357-0EF1-4AE0-A6D9-5A1EFB67B5F9}" type="slidenum">
              <a:rPr lang="ru-RU" sz="1600" b="1">
                <a:solidFill>
                  <a:srgbClr val="7F7F7F"/>
                </a:solidFill>
                <a:latin typeface="Arial Narrow"/>
              </a:rPr>
              <a:pPr defTabSz="1006526"/>
              <a:t>15</a:t>
            </a:fld>
            <a:endParaRPr lang="ru-RU" sz="1600" b="1" dirty="0">
              <a:solidFill>
                <a:srgbClr val="7F7F7F"/>
              </a:solidFill>
              <a:latin typeface="Arial Narrow"/>
            </a:endParaRPr>
          </a:p>
        </p:txBody>
      </p:sp>
      <p:pic>
        <p:nvPicPr>
          <p:cNvPr id="524290" name="Picture 2" descr="http://www.ung.uz/verstka2/img/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942" y="4407100"/>
            <a:ext cx="1027597" cy="947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292" name="Picture 4" descr="Картинки по запросу лукойл лого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2504" y="2013724"/>
            <a:ext cx="2620735" cy="807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294" name="Picture 6" descr="Картинки по запросу роснефть лого 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60" y="1683464"/>
            <a:ext cx="1756449" cy="1087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296" name="Picture 8" descr="Картинки по запросу газпромнефть лого 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0489" y="1847341"/>
            <a:ext cx="1753770" cy="906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298" name="Picture 10" descr="Картинки по запросу татнефть лого 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4193" y="1984361"/>
            <a:ext cx="2326947" cy="7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00" name="Picture 12" descr="Картинки по запросу сургутнефтегаз лого 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251"/>
          <a:stretch/>
        </p:blipFill>
        <p:spPr bwMode="auto">
          <a:xfrm>
            <a:off x="1401306" y="3315532"/>
            <a:ext cx="2631619" cy="455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02" name="Picture 14" descr="Картинки по запросу славнефть лого 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021" y="2690687"/>
            <a:ext cx="2215342" cy="1112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04" name="Picture 16" descr="Картинки по запросу русснефть лого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527" y="3145447"/>
            <a:ext cx="1645384" cy="719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10" name="Picture 22" descr="Картинки по запросу Казмунайгаз  лого 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8063" y="4807653"/>
            <a:ext cx="2590034" cy="777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12" name="Picture 24" descr="Картинки по запросу ТУРКМЕННЕФТЬ лого 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7773" y="4281006"/>
            <a:ext cx="2161142" cy="1556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16" name="Picture 28" descr="Картинки по запросу Белоруснефть лого pn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339357" y="4477073"/>
            <a:ext cx="1651890" cy="880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18" name="Picture 30" descr="Картинки по запросу укрнафта лого 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801" y="4917411"/>
            <a:ext cx="1833162" cy="471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20" name="Picture 32" descr="Картинки по запросу South Oil Company logo 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942" y="5644237"/>
            <a:ext cx="1228776" cy="1107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24" name="Picture 36" descr="Картинки по запросу oil india limited logo 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935" y="5986856"/>
            <a:ext cx="2108762" cy="647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Картинки по запросу ONGC logo 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2362" y="5632004"/>
            <a:ext cx="1118778" cy="1118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4334" name="Picture 46" descr="Картинки по запросу PDVSA logo 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1544" y="5988899"/>
            <a:ext cx="2385683" cy="669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1401306" y="4117749"/>
            <a:ext cx="7833826" cy="377541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ctr"/>
            <a:r>
              <a:rPr lang="ru-RU" sz="1800" b="1" cap="all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МЕЖДУНАРОДНЫЕ </a:t>
            </a:r>
            <a:r>
              <a:rPr lang="ru-RU" sz="1800" b="1" cap="all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ПАРТНЕРЫ</a:t>
            </a:r>
            <a:endParaRPr lang="ru-RU" sz="1800" b="1" cap="all" dirty="0">
              <a:solidFill>
                <a:srgbClr val="3AA08F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94205" y="1330050"/>
            <a:ext cx="9089256" cy="377541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ctr"/>
            <a:r>
              <a:rPr lang="ru-RU" sz="1800" b="1" cap="all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РОССИЙСКИЕ </a:t>
            </a:r>
            <a:r>
              <a:rPr lang="ru-RU" sz="1800" b="1" cap="all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Предприятия </a:t>
            </a:r>
            <a:r>
              <a:rPr lang="ru-RU" sz="1800" b="1" cap="all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ТОПЛИВНО-ЭНЕРГЕТИЧЕСКОГО КОМПЛЕКСА </a:t>
            </a:r>
          </a:p>
        </p:txBody>
      </p:sp>
    </p:spTree>
    <p:extLst>
      <p:ext uri="{BB962C8B-B14F-4D97-AF65-F5344CB8AC3E}">
        <p14:creationId xmlns:p14="http://schemas.microsoft.com/office/powerpoint/2010/main" val="190280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pic>
        <p:nvPicPr>
          <p:cNvPr id="11" name="Рисунок 10" descr="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29" y="3441"/>
            <a:ext cx="10688542" cy="755438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60354" y="1394465"/>
            <a:ext cx="9858444" cy="654540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ru-RU" sz="1750" b="1" cap="all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планы развития группы компаний ориентированы на предоставление качественных услуг на базе современного оборудования и новейших технологий </a:t>
            </a:r>
            <a:r>
              <a:rPr lang="ru-RU" sz="1750" b="1" cap="all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производства</a:t>
            </a:r>
            <a:endParaRPr lang="ru-RU" sz="1750" b="1" cap="all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4346568" y="1"/>
            <a:ext cx="5715040" cy="1240082"/>
          </a:xfrm>
          <a:prstGeom prst="rect">
            <a:avLst/>
          </a:prstGeom>
        </p:spPr>
        <p:txBody>
          <a:bodyPr vert="horz" lIns="99569" tIns="49785" rIns="99569" bIns="49785" rtlCol="0" anchor="ctr">
            <a:norm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+mj-ea"/>
                <a:cs typeface="+mj-cs"/>
              </a:rPr>
              <a:t>ПЕРСПЕКТИВЫ</a:t>
            </a:r>
            <a:endParaRPr lang="ru-RU" sz="24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+mj-ea"/>
              <a:cs typeface="+mj-cs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5060948" y="2208995"/>
            <a:ext cx="4394768" cy="4161893"/>
            <a:chOff x="5002941" y="2340471"/>
            <a:chExt cx="4376207" cy="4376207"/>
          </a:xfrm>
        </p:grpSpPr>
        <p:pic>
          <p:nvPicPr>
            <p:cNvPr id="6" name="Picture 2" descr="C:\Documents and Settings\i.gusenkov\Мои документы\Презентации\Company profile\zavod1.jpg"/>
            <p:cNvPicPr>
              <a:picLocks noChangeAspect="1" noChangeArrowheads="1"/>
            </p:cNvPicPr>
            <p:nvPr/>
          </p:nvPicPr>
          <p:blipFill rotWithShape="1">
            <a:blip r:embed="rId4" cstate="print"/>
            <a:srcRect l="11376" t="-168" r="2538" b="168"/>
            <a:stretch/>
          </p:blipFill>
          <p:spPr bwMode="auto">
            <a:xfrm>
              <a:off x="5032620" y="2412479"/>
              <a:ext cx="4258239" cy="4258239"/>
            </a:xfrm>
            <a:prstGeom prst="rect">
              <a:avLst/>
            </a:prstGeom>
            <a:noFill/>
          </p:spPr>
        </p:pic>
        <p:sp>
          <p:nvSpPr>
            <p:cNvPr id="10" name="Прямоугольник 9"/>
            <p:cNvSpPr/>
            <p:nvPr/>
          </p:nvSpPr>
          <p:spPr>
            <a:xfrm>
              <a:off x="5002941" y="4459261"/>
              <a:ext cx="4376207" cy="180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 rot="5400000">
              <a:off x="4976817" y="4438547"/>
              <a:ext cx="4376207" cy="180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847030" y="6852465"/>
            <a:ext cx="428628" cy="500066"/>
          </a:xfrm>
        </p:spPr>
        <p:txBody>
          <a:bodyPr/>
          <a:lstStyle/>
          <a:p>
            <a:pPr algn="ctr"/>
            <a:fld id="{725C68B6-61C2-468F-89AB-4B9F7531AA68}" type="slidenum">
              <a:rPr lang="ru-RU" sz="1600" b="1" smtClean="0"/>
              <a:pPr algn="ctr"/>
              <a:t>16</a:t>
            </a:fld>
            <a:endParaRPr lang="ru-RU" sz="16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584376" y="2295429"/>
            <a:ext cx="4357718" cy="4434036"/>
          </a:xfrm>
          <a:prstGeom prst="rect">
            <a:avLst/>
          </a:prstGeom>
        </p:spPr>
        <p:txBody>
          <a:bodyPr wrap="square" lIns="99569" tIns="49785" rIns="99569" bIns="49785">
            <a:spAutoFit/>
          </a:bodyPr>
          <a:lstStyle/>
          <a:p>
            <a:pPr marL="269875" indent="-269875" algn="just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itchFamily="2" charset="2"/>
              <a:buChar char="§"/>
            </a:pP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Группа компаний «Римера» стремится занять лидирующие позиции на рынке комплексных предложений для ТЭК.</a:t>
            </a:r>
          </a:p>
          <a:p>
            <a:pPr marL="269875" indent="-269875" algn="just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itchFamily="2" charset="2"/>
              <a:buChar char="§"/>
            </a:pPr>
            <a:endParaRPr lang="ru-RU" sz="16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  <a:p>
            <a:pPr marL="269875" indent="-269875" algn="just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itchFamily="2" charset="2"/>
              <a:buChar char="§"/>
            </a:pP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В основе этого стремления лежит многолетний опыт эффективной работы с клиентами компании, понимание их ожиданий, нацеленность команды на результат, синергия с предприятиями трубного дивизиона Группы ЧТПЗ.</a:t>
            </a:r>
          </a:p>
          <a:p>
            <a:pPr marL="269875" indent="-269875" algn="just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itchFamily="2" charset="2"/>
              <a:buChar char="§"/>
            </a:pP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Ключевыми принципами компании, на которых строится бизнес, являются клиентоориентированность, нацеленность на результат, комплексный, при этом индивидуальный подход к каждому клиенту, а также постоянное совершенствование производственной системы.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29" y="3441"/>
            <a:ext cx="10688542" cy="7554380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989114" y="2137557"/>
            <a:ext cx="671517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cap="all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СПАСИБО ЗА </a:t>
            </a:r>
            <a:r>
              <a:rPr lang="ru-RU" sz="4000" b="1" cap="all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ВНИМАНИЕ</a:t>
            </a:r>
            <a:r>
              <a:rPr lang="ru-RU" sz="4000" b="1" cap="all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!</a:t>
            </a:r>
            <a:endParaRPr lang="ru-RU" sz="4000" b="1" cap="all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2558" y="5028069"/>
            <a:ext cx="1091258" cy="1091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268" y="5028069"/>
            <a:ext cx="1029792" cy="1029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632056" y="4566449"/>
            <a:ext cx="14722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600" dirty="0">
                <a:solidFill>
                  <a:srgbClr val="106A6A"/>
                </a:solidFill>
                <a:latin typeface="Arial Narrow" pitchFamily="34" charset="0"/>
                <a:cs typeface="Arial" pitchFamily="34" charset="0"/>
                <a:hlinkClick r:id="rId6"/>
              </a:rPr>
              <a:t>www.rimera.com</a:t>
            </a:r>
            <a:r>
              <a:rPr lang="ru-RU" sz="1600" dirty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418138" y="4566449"/>
            <a:ext cx="265405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106A6A"/>
                </a:solidFill>
                <a:latin typeface="Arial Narrow" pitchFamily="34" charset="0"/>
                <a:cs typeface="Arial" pitchFamily="34" charset="0"/>
                <a:hlinkClick r:id="rId7"/>
              </a:rPr>
              <a:t>www.facebook.com/rimera.group</a:t>
            </a:r>
            <a:r>
              <a:rPr lang="ru-RU" sz="1600" dirty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 </a:t>
            </a:r>
            <a:endParaRPr lang="ru-RU" sz="1600" dirty="0">
              <a:solidFill>
                <a:srgbClr val="106A6A"/>
              </a:solidFill>
              <a:latin typeface="Arial Narrow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811841" y="2957932"/>
            <a:ext cx="4248472" cy="1020794"/>
          </a:xfrm>
          <a:prstGeom prst="rect">
            <a:avLst/>
          </a:prstGeom>
        </p:spPr>
        <p:txBody>
          <a:bodyPr wrap="square" lIns="99569" tIns="49785" rIns="99569" bIns="49785">
            <a:spAutoFit/>
          </a:bodyPr>
          <a:lstStyle/>
          <a:p>
            <a:pPr marL="285750" lvl="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itchFamily="2" charset="2"/>
              <a:buChar char="§"/>
            </a:pP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Управляющая компания</a:t>
            </a:r>
            <a:r>
              <a:rPr lang="en-US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«Римера»</a:t>
            </a:r>
          </a:p>
          <a:p>
            <a:pPr lvl="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</a:pPr>
            <a:r>
              <a:rPr lang="en-US" sz="1300" dirty="0" smtClean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  <a:cs typeface="Arial" pitchFamily="34" charset="0"/>
                <a:hlinkClick r:id="rId8"/>
              </a:rPr>
              <a:t>info@rimera.com</a:t>
            </a:r>
            <a:endParaRPr lang="en-US" sz="1300" dirty="0" smtClean="0">
              <a:solidFill>
                <a:schemeClr val="bg1">
                  <a:lumMod val="50000"/>
                </a:schemeClr>
              </a:solidFill>
              <a:latin typeface="Arial Narrow" pitchFamily="34" charset="0"/>
              <a:cs typeface="Arial" pitchFamily="34" charset="0"/>
            </a:endParaRPr>
          </a:p>
          <a:p>
            <a:pPr lvl="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</a:pPr>
            <a:r>
              <a:rPr lang="ru-RU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Москва, ул. Лесная</a:t>
            </a: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,</a:t>
            </a:r>
            <a:r>
              <a:rPr lang="en-US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5</a:t>
            </a:r>
            <a:r>
              <a:rPr lang="en-US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3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В</a:t>
            </a:r>
            <a:endParaRPr lang="ru-RU" sz="13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  <a:p>
            <a:pPr lvl="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</a:pPr>
            <a:r>
              <a:rPr lang="ru-RU" sz="13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       (495) 981 01 </a:t>
            </a:r>
            <a:r>
              <a:rPr lang="ru-RU" sz="13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01</a:t>
            </a:r>
          </a:p>
        </p:txBody>
      </p:sp>
      <p:pic>
        <p:nvPicPr>
          <p:cNvPr id="15" name="Picture 2" descr="http://publicdomainvectors.org/tn_related/rickvanderzwet_Phon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9386" y="3682852"/>
            <a:ext cx="253661" cy="253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 descr="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29" y="3441"/>
            <a:ext cx="10688542" cy="7554380"/>
          </a:xfrm>
          <a:prstGeom prst="rect">
            <a:avLst/>
          </a:prstGeom>
        </p:spPr>
      </p:pic>
      <p:sp>
        <p:nvSpPr>
          <p:cNvPr id="6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847030" y="6852465"/>
            <a:ext cx="428628" cy="500066"/>
          </a:xfrm>
        </p:spPr>
        <p:txBody>
          <a:bodyPr/>
          <a:lstStyle/>
          <a:p>
            <a:pPr algn="ctr"/>
            <a:fld id="{725C68B6-61C2-468F-89AB-4B9F7531AA68}" type="slidenum">
              <a:rPr lang="ru-RU" sz="1600" b="1" smtClean="0"/>
              <a:pPr algn="ctr"/>
              <a:t>2</a:t>
            </a:fld>
            <a:endParaRPr lang="ru-RU" sz="1600" b="1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5989642" y="1"/>
            <a:ext cx="4143404" cy="1239838"/>
          </a:xfrm>
          <a:prstGeom prst="rect">
            <a:avLst/>
          </a:prstGeom>
        </p:spPr>
        <p:txBody>
          <a:bodyPr vert="horz" lIns="99569" tIns="49785" rIns="99569" bIns="49785" rtlCol="0" anchor="ctr">
            <a:normAutofit/>
          </a:bodyPr>
          <a:lstStyle/>
          <a:p>
            <a:pPr marL="0" marR="0" lvl="0" indent="0" algn="r" defTabSz="99569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 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 О КОМПАНИИ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31792" y="3288958"/>
            <a:ext cx="8572560" cy="425741"/>
          </a:xfrm>
          <a:prstGeom prst="rect">
            <a:avLst/>
          </a:prstGeom>
          <a:solidFill>
            <a:srgbClr val="106A6A"/>
          </a:solidFill>
          <a:ln>
            <a:noFill/>
          </a:ln>
        </p:spPr>
        <p:txBody>
          <a:bodyPr wrap="square" lIns="116824" tIns="58412" rIns="116824" bIns="58412" rtlCol="0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0" dirty="0">
                <a:solidFill>
                  <a:schemeClr val="bg1"/>
                </a:solidFill>
              </a:rPr>
              <a:t>Группа ЧТПЗ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68352" y="3838291"/>
            <a:ext cx="2736000" cy="34879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wrap="square" lIns="116824" tIns="58412" rIns="116824" bIns="58412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 err="1">
                <a:solidFill>
                  <a:schemeClr val="bg1"/>
                </a:solidFill>
              </a:rPr>
              <a:t>Нефтесервисный</a:t>
            </a:r>
            <a:r>
              <a:rPr lang="ru-RU" sz="1500" b="1">
                <a:solidFill>
                  <a:schemeClr val="bg1"/>
                </a:solidFill>
              </a:rPr>
              <a:t> дивизион</a:t>
            </a: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31792" y="3838291"/>
            <a:ext cx="5643602" cy="34879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lIns="116824" tIns="58412" rIns="116824" bIns="58412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>
                <a:solidFill>
                  <a:schemeClr val="bg1"/>
                </a:solidFill>
              </a:rPr>
              <a:t>Трубный дивизион</a:t>
            </a:r>
            <a:endParaRPr lang="ru-RU" sz="1500" b="1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68352" y="4467803"/>
            <a:ext cx="2736000" cy="3487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kern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Алнас</a:t>
            </a:r>
            <a:endParaRPr lang="ru-RU" sz="15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489708" y="5003470"/>
            <a:ext cx="2736000" cy="3487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kern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Ижнефтемаш</a:t>
            </a:r>
            <a:endParaRPr lang="ru-RU" sz="15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489708" y="5574974"/>
            <a:ext cx="2736000" cy="3487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kern="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Римера</a:t>
            </a:r>
            <a:r>
              <a:rPr lang="ru-RU" sz="15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-Сервис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31792" y="4467818"/>
            <a:ext cx="3000396" cy="3487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Челябинский трубопрокатный завод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31790" y="5003485"/>
            <a:ext cx="3000398" cy="3487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ервоуральский новотрубный завод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31792" y="5574974"/>
            <a:ext cx="3000395" cy="3487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кладской комплекс ЧТПЗ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31791" y="6146478"/>
            <a:ext cx="3000395" cy="3487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ГК «МЕТА»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775064" y="4467803"/>
            <a:ext cx="2521685" cy="34879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ОТ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775063" y="5003470"/>
            <a:ext cx="2521685" cy="34879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ЭТЕРНО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775064" y="5574974"/>
            <a:ext cx="2521685" cy="348797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</p:spPr>
        <p:txBody>
          <a:bodyPr wrap="square" lIns="116824" tIns="58412" rIns="116824" bIns="58412" rtlCol="0" anchor="ctr">
            <a:spAutoFit/>
          </a:bodyPr>
          <a:lstStyle/>
          <a:p>
            <a:pPr algn="ctr" defTabSz="116823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SA</a:t>
            </a:r>
            <a:endParaRPr lang="ru-RU" sz="15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Box 54"/>
          <p:cNvSpPr txBox="1"/>
          <p:nvPr/>
        </p:nvSpPr>
        <p:spPr>
          <a:xfrm>
            <a:off x="604208" y="1448323"/>
            <a:ext cx="9429816" cy="1700980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«РИМЕРА» – НЕФТЕСЕРВИСНЫЙ ДИВИЗИОН ГРУППЫ ЧТПЗ</a:t>
            </a:r>
            <a:r>
              <a:rPr lang="ru-RU" sz="2400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 </a:t>
            </a:r>
          </a:p>
          <a:p>
            <a:endParaRPr lang="ru-RU" sz="20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  <a:p>
            <a:pPr algn="just"/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Группа ЧТПЗ предоставляет компаниям и предприятиям ТЭК эффективные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интегрированные решения от производства труб и нефтедобывающего оборудования до оказания сервисных услуг, обеспечивая единый стандарт качества по всей цепочке поставок.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 descr="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10688542" cy="755438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3928283" y="2814946"/>
            <a:ext cx="2864360" cy="5929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9569" tIns="49785" rIns="99569" bIns="49785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Производство оборудования </a:t>
            </a:r>
          </a:p>
          <a:p>
            <a:pPr algn="ctr"/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для нефтедобычи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98870" y="5937024"/>
            <a:ext cx="6127309" cy="592985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defTabSz="914400"/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ЗАО «РИМЕРА» является управляющей компанией для предприятий группы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917940" y="3660488"/>
            <a:ext cx="2868920" cy="72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9569" tIns="49785" rIns="99569" bIns="49785">
            <a:spAutoFit/>
          </a:bodyPr>
          <a:lstStyle/>
          <a:p>
            <a:pPr algn="ctr" defTabSz="926545" fontAlgn="base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800" b="1" dirty="0" smtClean="0">
                <a:solidFill>
                  <a:srgbClr val="0070C0"/>
                </a:solidFill>
                <a:latin typeface="Arial Narrow" pitchFamily="34" charset="0"/>
                <a:cs typeface="Arial" pitchFamily="34" charset="0"/>
              </a:rPr>
              <a:t> АЛНАС</a:t>
            </a:r>
          </a:p>
          <a:p>
            <a:pPr marL="95075" indent="-95075" algn="ctr" defTabSz="926545" fontAlgn="base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800" b="1" dirty="0" smtClean="0">
                <a:solidFill>
                  <a:srgbClr val="0070C0"/>
                </a:solidFill>
                <a:latin typeface="Arial Narrow" pitchFamily="34" charset="0"/>
                <a:cs typeface="Arial" pitchFamily="34" charset="0"/>
              </a:rPr>
              <a:t>ИЖНЕФТЕМАШ</a:t>
            </a:r>
            <a:endParaRPr lang="en-US" sz="1800" b="1" dirty="0">
              <a:solidFill>
                <a:srgbClr val="0070C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65334" y="2814947"/>
            <a:ext cx="3086085" cy="59298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9569" tIns="49785" rIns="99569" bIns="49785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Сервис труб </a:t>
            </a:r>
            <a:r>
              <a:rPr lang="ru-RU" sz="1600" spc="1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нефтяного сортамента и </a:t>
            </a:r>
            <a:r>
              <a:rPr lang="ru-RU" sz="1600" spc="1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нефтепогружного</a:t>
            </a:r>
            <a:r>
              <a:rPr lang="ru-RU" sz="1600" spc="1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оборудования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10447" y="3670548"/>
            <a:ext cx="3052078" cy="70994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9569" tIns="49785" rIns="99569" bIns="49785" anchor="ctr">
            <a:spAutoFit/>
          </a:bodyPr>
          <a:lstStyle/>
          <a:p>
            <a:pPr algn="ctr" defTabSz="926545" fontAlgn="base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800" b="1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РИМЕРА-СЕРВИС</a:t>
            </a:r>
            <a:endParaRPr lang="en-US" sz="1800" b="1" dirty="0" smtClean="0">
              <a:solidFill>
                <a:srgbClr val="3AA08F"/>
              </a:solidFill>
              <a:latin typeface="Arial Narrow" pitchFamily="34" charset="0"/>
              <a:cs typeface="Arial" pitchFamily="34" charset="0"/>
            </a:endParaRPr>
          </a:p>
          <a:p>
            <a:pPr algn="ctr" defTabSz="926545" fontAlgn="base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800" b="1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  </a:t>
            </a:r>
          </a:p>
        </p:txBody>
      </p:sp>
      <p:sp>
        <p:nvSpPr>
          <p:cNvPr id="49" name="Заголовок 1"/>
          <p:cNvSpPr txBox="1">
            <a:spLocks/>
          </p:cNvSpPr>
          <p:nvPr/>
        </p:nvSpPr>
        <p:spPr>
          <a:xfrm>
            <a:off x="4060816" y="1"/>
            <a:ext cx="6000792" cy="1208862"/>
          </a:xfrm>
          <a:prstGeom prst="rect">
            <a:avLst/>
          </a:prstGeom>
        </p:spPr>
        <p:txBody>
          <a:bodyPr vert="horz" lIns="99569" tIns="49785" rIns="99569" bIns="49785" rtlCol="0" anchor="ctr">
            <a:norm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+mj-ea"/>
                <a:cs typeface="+mj-cs"/>
              </a:rPr>
              <a:t>НАПРАВЛЕНИЯ РАБОТЫ </a:t>
            </a:r>
          </a:p>
          <a:p>
            <a:pPr algn="r">
              <a:spcBef>
                <a:spcPct val="0"/>
              </a:spcBef>
              <a:defRPr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+mj-ea"/>
                <a:cs typeface="+mj-cs"/>
              </a:rPr>
              <a:t>И ОСНОВНЫЕ ПОКАЗАТЕЛИ ГРУППЫ </a:t>
            </a:r>
            <a:endParaRPr lang="ru-RU" sz="24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4072" y="1410955"/>
            <a:ext cx="6152788" cy="646331"/>
          </a:xfrm>
          <a:prstGeom prst="rect">
            <a:avLst/>
          </a:prstGeom>
          <a:solidFill>
            <a:srgbClr val="106A6A"/>
          </a:solidFill>
        </p:spPr>
        <p:txBody>
          <a:bodyPr wrap="square">
            <a:spAutoFit/>
          </a:bodyPr>
          <a:lstStyle/>
          <a:p>
            <a:pPr algn="ctr" defTabSz="914400"/>
            <a:r>
              <a:rPr lang="ru-RU" sz="1800" b="1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ПРЕДПРИЯТИЯ, ВХОДЯЩИЕ В ПЕРИМЕТР УПРАВЛЕНИЯ «РИМЕРА»</a:t>
            </a:r>
            <a:r>
              <a:rPr lang="ru-RU" sz="1800" b="1" dirty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,</a:t>
            </a:r>
            <a:r>
              <a:rPr lang="ru-RU" sz="1800" b="1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 ОБЪЕДИНЕНЫ  ПО</a:t>
            </a:r>
            <a:r>
              <a:rPr lang="en-US" sz="1800" b="1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800" b="1" dirty="0" smtClean="0">
                <a:solidFill>
                  <a:schemeClr val="bg1"/>
                </a:solidFill>
                <a:latin typeface="Arial Narrow" pitchFamily="34" charset="0"/>
                <a:cs typeface="Arial" pitchFamily="34" charset="0"/>
              </a:rPr>
              <a:t>НАПРАВЛЕНИЯМ: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711135" y="5222570"/>
            <a:ext cx="221457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общая численность</a:t>
            </a:r>
          </a:p>
          <a:p>
            <a:r>
              <a:rPr lang="ru-RU" sz="1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сотрудников</a:t>
            </a:r>
            <a:endParaRPr lang="ru-RU" sz="1900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9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847030" y="6852465"/>
            <a:ext cx="428628" cy="500066"/>
          </a:xfrm>
        </p:spPr>
        <p:txBody>
          <a:bodyPr/>
          <a:lstStyle/>
          <a:p>
            <a:pPr algn="ctr"/>
            <a:fld id="{725C68B6-61C2-468F-89AB-4B9F7531AA68}" type="slidenum">
              <a:rPr lang="ru-RU" sz="1600" b="1" smtClean="0"/>
              <a:pPr algn="ctr"/>
              <a:t>3</a:t>
            </a:fld>
            <a:endParaRPr lang="ru-RU" sz="1600" b="1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7987528" y="1513301"/>
            <a:ext cx="90546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2</a:t>
            </a:r>
            <a:r>
              <a:rPr lang="ru-RU" sz="40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43</a:t>
            </a:r>
            <a:endParaRPr lang="ru-RU" sz="4000" dirty="0">
              <a:solidFill>
                <a:srgbClr val="106A6A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655157" y="2071612"/>
            <a:ext cx="2352185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составили инвестиции в модернизацию мощностей в 2017 г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655157" y="3274222"/>
            <a:ext cx="1003801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0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1</a:t>
            </a:r>
            <a:r>
              <a:rPr lang="ru-RU" sz="40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2</a:t>
            </a:r>
            <a:r>
              <a:rPr lang="en-US" sz="40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,4</a:t>
            </a:r>
            <a:endParaRPr lang="ru-RU" sz="4000" b="1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711135" y="4916535"/>
            <a:ext cx="9284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БОЛЕЕ</a:t>
            </a:r>
            <a:endParaRPr lang="ru-RU" dirty="0">
              <a:solidFill>
                <a:srgbClr val="106A6A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655157" y="3887081"/>
            <a:ext cx="2407904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/>
            <a:r>
              <a:rPr lang="ru-RU" sz="1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выручка</a:t>
            </a:r>
            <a:endParaRPr lang="ru-RU" sz="19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  <a:p>
            <a:r>
              <a:rPr lang="ru-RU" sz="19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по итогам 2017 г.</a:t>
            </a:r>
          </a:p>
        </p:txBody>
      </p:sp>
      <p:pic>
        <p:nvPicPr>
          <p:cNvPr id="20" name="Рисунок 19" descr="3.png"/>
          <p:cNvPicPr>
            <a:picLocks noChangeAspect="1"/>
          </p:cNvPicPr>
          <p:nvPr/>
        </p:nvPicPr>
        <p:blipFill rotWithShape="1">
          <a:blip r:embed="rId3" cstate="print"/>
          <a:srcRect l="2630" t="56628" r="85930" b="31257"/>
          <a:stretch/>
        </p:blipFill>
        <p:spPr>
          <a:xfrm>
            <a:off x="6689857" y="1559250"/>
            <a:ext cx="1222744" cy="915243"/>
          </a:xfrm>
          <a:prstGeom prst="rect">
            <a:avLst/>
          </a:prstGeom>
        </p:spPr>
      </p:pic>
      <p:pic>
        <p:nvPicPr>
          <p:cNvPr id="24" name="Рисунок 23" descr="3.png"/>
          <p:cNvPicPr>
            <a:picLocks noChangeAspect="1"/>
          </p:cNvPicPr>
          <p:nvPr/>
        </p:nvPicPr>
        <p:blipFill rotWithShape="1">
          <a:blip r:embed="rId3" cstate="print"/>
          <a:srcRect l="34653" t="56065" r="57222" b="34223"/>
          <a:stretch/>
        </p:blipFill>
        <p:spPr>
          <a:xfrm>
            <a:off x="7034718" y="3153956"/>
            <a:ext cx="868375" cy="733647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631792" y="4428703"/>
            <a:ext cx="898484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468698" y="4436168"/>
            <a:ext cx="898484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498828" y="4586036"/>
            <a:ext cx="898484" cy="5760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33" name="Рисунок 32" descr="3.png"/>
          <p:cNvPicPr>
            <a:picLocks noChangeAspect="1"/>
          </p:cNvPicPr>
          <p:nvPr/>
        </p:nvPicPr>
        <p:blipFill rotWithShape="1">
          <a:blip r:embed="rId3" cstate="print"/>
          <a:srcRect l="19043" t="27052" r="73894" b="60923"/>
          <a:stretch/>
        </p:blipFill>
        <p:spPr>
          <a:xfrm>
            <a:off x="4983007" y="2039210"/>
            <a:ext cx="754912" cy="908416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1917676" y="2199462"/>
            <a:ext cx="898484" cy="6154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596886" y="2080767"/>
            <a:ext cx="898484" cy="5901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34" name="Рисунок 33" descr="3.png"/>
          <p:cNvPicPr>
            <a:picLocks noChangeAspect="1"/>
          </p:cNvPicPr>
          <p:nvPr/>
        </p:nvPicPr>
        <p:blipFill rotWithShape="1">
          <a:blip r:embed="rId3" cstate="print"/>
          <a:srcRect l="19043" t="27052" r="73894" b="60923"/>
          <a:stretch/>
        </p:blipFill>
        <p:spPr>
          <a:xfrm>
            <a:off x="1830920" y="2052996"/>
            <a:ext cx="754912" cy="908416"/>
          </a:xfrm>
          <a:prstGeom prst="rect">
            <a:avLst/>
          </a:prstGeom>
        </p:spPr>
      </p:pic>
      <p:pic>
        <p:nvPicPr>
          <p:cNvPr id="1029" name="Picture 5" descr="X:\Фотогалерея\Фотосессия Ижнефтемаш 2014\300\_DSC622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8428" y="4493100"/>
            <a:ext cx="1811297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X:\Фотогалерея\фото продукции к выставке\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71"/>
          <a:stretch/>
        </p:blipFill>
        <p:spPr bwMode="auto">
          <a:xfrm>
            <a:off x="728522" y="4493100"/>
            <a:ext cx="1857309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X:\Фотогалерея\для Белой скважины\inm\kachalki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3007" y="4493100"/>
            <a:ext cx="1803853" cy="12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0" name="Прямая соединительная линия 39"/>
          <p:cNvCxnSpPr/>
          <p:nvPr/>
        </p:nvCxnSpPr>
        <p:spPr>
          <a:xfrm>
            <a:off x="6977224" y="1652886"/>
            <a:ext cx="9828" cy="3783929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 descr="3.png"/>
          <p:cNvPicPr>
            <a:picLocks noChangeAspect="1"/>
          </p:cNvPicPr>
          <p:nvPr/>
        </p:nvPicPr>
        <p:blipFill rotWithShape="1">
          <a:blip r:embed="rId3" cstate="print"/>
          <a:srcRect l="60911" t="57168" r="32114" b="34082"/>
          <a:stretch/>
        </p:blipFill>
        <p:spPr>
          <a:xfrm>
            <a:off x="7024550" y="4662199"/>
            <a:ext cx="745524" cy="660999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8826871" y="1581423"/>
            <a:ext cx="61587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МЛН</a:t>
            </a:r>
            <a:r>
              <a:rPr lang="ru-RU" sz="1600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.</a:t>
            </a:r>
          </a:p>
          <a:p>
            <a:pPr algn="ctr"/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РУБ</a:t>
            </a:r>
            <a:r>
              <a:rPr lang="ru-RU" sz="1600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. </a:t>
            </a:r>
            <a:endParaRPr lang="ru-RU" sz="1600" dirty="0">
              <a:solidFill>
                <a:srgbClr val="106A6A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8774447" y="3319082"/>
            <a:ext cx="72167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МЛ</a:t>
            </a:r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РД</a:t>
            </a:r>
            <a:r>
              <a:rPr lang="ru-RU" sz="1600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.</a:t>
            </a:r>
            <a:endParaRPr lang="ru-RU" sz="1600" dirty="0" smtClean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  <a:p>
            <a:pPr algn="ctr"/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РУБ</a:t>
            </a:r>
            <a:r>
              <a:rPr lang="ru-RU" sz="1600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. </a:t>
            </a:r>
            <a:endParaRPr lang="ru-RU" sz="1600" dirty="0">
              <a:solidFill>
                <a:srgbClr val="106A6A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8507500" y="4676477"/>
            <a:ext cx="123783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0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5 300</a:t>
            </a:r>
            <a:endParaRPr lang="ru-RU" sz="4000" b="1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4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29" y="3441"/>
            <a:ext cx="10688542" cy="7554380"/>
          </a:xfrm>
          <a:prstGeom prst="rect">
            <a:avLst/>
          </a:prstGeom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5561014" y="0"/>
            <a:ext cx="4540494" cy="1208863"/>
          </a:xfrm>
          <a:prstGeom prst="rect">
            <a:avLst/>
          </a:prstGeom>
        </p:spPr>
        <p:txBody>
          <a:bodyPr vert="horz" lIns="99569" tIns="49785" rIns="99569" bIns="49785" rtlCol="0" anchor="ctr">
            <a:norm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+mj-ea"/>
                <a:cs typeface="+mj-cs"/>
              </a:rPr>
              <a:t>ГЕОГРАФИЯ  ПРИСУТСТВИЯ</a:t>
            </a:r>
            <a:endParaRPr lang="ru-RU" sz="24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3546" y="1423177"/>
            <a:ext cx="63447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cs typeface="Arial" pitchFamily="34" charset="0"/>
              </a:rPr>
              <a:t>ПРЕДПРИЯТИЯ ГРУППЫ КОМПАНИЙ «РИМЕРА» РАСПОЛОЖЕНЫ В ОСНОВНЫХ НЕФТЕДОБЫВАЮЩИХ РЕГИОНАХ РОССИИ</a:t>
            </a:r>
            <a:endParaRPr lang="ru-RU" sz="18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9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847030" y="6852465"/>
            <a:ext cx="428628" cy="500066"/>
          </a:xfrm>
        </p:spPr>
        <p:txBody>
          <a:bodyPr/>
          <a:lstStyle/>
          <a:p>
            <a:pPr algn="ctr"/>
            <a:fld id="{725C68B6-61C2-468F-89AB-4B9F7531AA68}" type="slidenum">
              <a:rPr lang="ru-RU" sz="1600" b="1" smtClean="0"/>
              <a:pPr algn="ctr"/>
              <a:t>4</a:t>
            </a:fld>
            <a:endParaRPr lang="ru-RU" sz="1600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Диаграмма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4492581"/>
              </p:ext>
            </p:extLst>
          </p:nvPr>
        </p:nvGraphicFramePr>
        <p:xfrm>
          <a:off x="6629564" y="2912142"/>
          <a:ext cx="3432043" cy="2598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4" name="Рисунок 33" descr="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29" y="3441"/>
            <a:ext cx="10688542" cy="7554380"/>
          </a:xfrm>
          <a:prstGeom prst="rect">
            <a:avLst/>
          </a:prstGeom>
        </p:spPr>
      </p:pic>
      <p:pic>
        <p:nvPicPr>
          <p:cNvPr id="9" name="Рисунок 16" descr="лого верт рус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219659" y="1423177"/>
            <a:ext cx="841949" cy="114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803117" y="287337"/>
            <a:ext cx="9358378" cy="952745"/>
          </a:xfrm>
          <a:prstGeom prst="rect">
            <a:avLst/>
          </a:prstGeom>
        </p:spPr>
        <p:txBody>
          <a:bodyPr vert="horz" lIns="99569" tIns="49785" rIns="99569" bIns="49785" rtlCol="0" anchor="ctr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ru-RU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+mj-ea"/>
                <a:cs typeface="+mj-cs"/>
              </a:rPr>
              <a:t>ОБОРУДОВАНИЕ ДЛЯ НЕФТЕДОБЫЧИ </a:t>
            </a:r>
          </a:p>
          <a:p>
            <a:pPr algn="r">
              <a:spcBef>
                <a:spcPct val="0"/>
              </a:spcBef>
              <a:defRPr/>
            </a:pPr>
            <a:r>
              <a:rPr lang="ru-RU" sz="2800" b="1" dirty="0" smtClean="0">
                <a:solidFill>
                  <a:srgbClr val="106A6A"/>
                </a:solidFill>
                <a:latin typeface="Arial Narrow" pitchFamily="34" charset="0"/>
                <a:ea typeface="+mj-ea"/>
                <a:cs typeface="+mj-cs"/>
              </a:rPr>
              <a:t>АЛНАС </a:t>
            </a:r>
            <a:endParaRPr lang="ru-RU" sz="2800" b="1" dirty="0">
              <a:solidFill>
                <a:srgbClr val="106A6A"/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061212" y="2423309"/>
            <a:ext cx="2000264" cy="592985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Доля на рынке УЭЦН </a:t>
            </a:r>
          </a:p>
          <a:p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(2017 год)</a:t>
            </a:r>
            <a:endParaRPr lang="ru-RU" sz="1600" b="1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330175" y="5669836"/>
            <a:ext cx="1510691" cy="300597"/>
          </a:xfrm>
          <a:prstGeom prst="rect">
            <a:avLst/>
          </a:prstGeom>
        </p:spPr>
        <p:txBody>
          <a:bodyPr wrap="square" lIns="99569" tIns="49785" rIns="99569" bIns="49785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93606" indent="-193606" defTabSz="926545" fontAlgn="base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3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рочие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330175" y="5352267"/>
            <a:ext cx="1925950" cy="300597"/>
          </a:xfrm>
          <a:prstGeom prst="rect">
            <a:avLst/>
          </a:prstGeom>
        </p:spPr>
        <p:txBody>
          <a:bodyPr wrap="square" lIns="99569" tIns="49785" rIns="99569" bIns="49785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93606" indent="-193606" defTabSz="926545" fontAlgn="base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3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«АЛНАС»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7174712" y="5431659"/>
            <a:ext cx="155463" cy="158784"/>
          </a:xfrm>
          <a:prstGeom prst="rect">
            <a:avLst/>
          </a:prstGeom>
          <a:solidFill>
            <a:srgbClr val="106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7174712" y="5749228"/>
            <a:ext cx="155463" cy="15878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4008557" y="5542842"/>
            <a:ext cx="2695465" cy="111620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9569" tIns="49785" rIns="99569" bIns="49785" rtlCol="0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ПРОИЗВОДСТВЕННЫЕ </a:t>
            </a:r>
            <a:r>
              <a:rPr lang="ru-RU" sz="28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МОЩНОСТИ</a:t>
            </a:r>
            <a:endParaRPr lang="en-US" sz="2400" b="1" dirty="0" smtClean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  <a:p>
            <a:pPr algn="ctr"/>
            <a:r>
              <a:rPr lang="ru-RU" sz="1500" b="1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до</a:t>
            </a:r>
            <a:r>
              <a:rPr lang="ru-RU" sz="2200" b="1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 7 500 </a:t>
            </a:r>
            <a:r>
              <a:rPr lang="ru-RU" sz="15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УЭЦН</a:t>
            </a:r>
            <a:r>
              <a:rPr lang="en-US" sz="15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5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в год</a:t>
            </a:r>
          </a:p>
        </p:txBody>
      </p:sp>
      <p:pic>
        <p:nvPicPr>
          <p:cNvPr id="6146" name="Picture 2" descr="C:\Users\Irina.Kozhukhovskaya\Desktop\2 (27)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8557" y="2423309"/>
            <a:ext cx="2676287" cy="1820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C:\Users\Irina.Kozhukhovskaya\Desktop\ФБ\Фотоальбомы\Алнас\Рабочие органы\Фото Шайхутдинова\1-64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973"/>
          <a:stretch/>
        </p:blipFill>
        <p:spPr bwMode="auto">
          <a:xfrm>
            <a:off x="4008557" y="4418784"/>
            <a:ext cx="1238626" cy="1018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" descr="C:\Users\Irina.Kozhukhovskaya\Desktop\ФБ\Фотоальбомы\Алнас\Рабочие органы\Фото Шайхутдинова\1-16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483" y="4422987"/>
            <a:ext cx="1239361" cy="100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847030" y="6852465"/>
            <a:ext cx="428628" cy="500066"/>
          </a:xfrm>
        </p:spPr>
        <p:txBody>
          <a:bodyPr/>
          <a:lstStyle/>
          <a:p>
            <a:pPr algn="ctr"/>
            <a:fld id="{725C68B6-61C2-468F-89AB-4B9F7531AA68}" type="slidenum">
              <a:rPr lang="ru-RU" sz="1600" b="1" smtClean="0"/>
              <a:pPr algn="ctr"/>
              <a:t>5</a:t>
            </a:fld>
            <a:endParaRPr lang="ru-RU" sz="1600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28930" y="2618202"/>
            <a:ext cx="2246002" cy="33933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just"/>
            <a:r>
              <a:rPr lang="ru-RU" sz="1500" b="1" dirty="0" smtClean="0">
                <a:solidFill>
                  <a:srgbClr val="016B54"/>
                </a:solidFill>
                <a:latin typeface="Arial Narrow" pitchFamily="34" charset="0"/>
                <a:cs typeface="Arial" pitchFamily="34" charset="0"/>
              </a:rPr>
              <a:t>ПРОДУКЦИЯ</a:t>
            </a:r>
            <a:endParaRPr lang="ru-RU" sz="1300" b="1" dirty="0">
              <a:solidFill>
                <a:srgbClr val="016B54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28930" y="4530120"/>
            <a:ext cx="2174564" cy="33933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just"/>
            <a:r>
              <a:rPr lang="ru-RU" sz="1500" b="1" dirty="0" smtClean="0">
                <a:solidFill>
                  <a:srgbClr val="016B54"/>
                </a:solidFill>
                <a:latin typeface="Arial Narrow" pitchFamily="34" charset="0"/>
                <a:cs typeface="Arial" pitchFamily="34" charset="0"/>
              </a:rPr>
              <a:t>СЕРТИФИКАТЫ</a:t>
            </a:r>
            <a:endParaRPr lang="ru-RU" sz="1300" b="1" dirty="0">
              <a:solidFill>
                <a:srgbClr val="016B54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78667" y="4958748"/>
            <a:ext cx="4093334" cy="780729"/>
          </a:xfrm>
          <a:prstGeom prst="rect">
            <a:avLst/>
          </a:prstGeom>
        </p:spPr>
        <p:txBody>
          <a:bodyPr wrap="square" lIns="99569" tIns="49785" rIns="99569" bIns="49785">
            <a:spAutoFit/>
          </a:bodyPr>
          <a:lstStyle/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300" dirty="0" smtClean="0">
                <a:solidFill>
                  <a:srgbClr val="000000"/>
                </a:solidFill>
                <a:latin typeface="Arial Narrow" pitchFamily="34" charset="0"/>
              </a:rPr>
              <a:t>ISO 9001</a:t>
            </a:r>
            <a:r>
              <a:rPr lang="ru-RU" sz="1300" dirty="0" smtClean="0">
                <a:solidFill>
                  <a:srgbClr val="000000"/>
                </a:solidFill>
                <a:latin typeface="Arial Narrow" pitchFamily="34" charset="0"/>
              </a:rPr>
              <a:t>:2011</a:t>
            </a:r>
            <a:endParaRPr lang="en-US" sz="13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300" dirty="0" smtClean="0">
                <a:solidFill>
                  <a:srgbClr val="000000"/>
                </a:solidFill>
                <a:latin typeface="Arial Narrow" pitchFamily="34" charset="0"/>
              </a:rPr>
              <a:t>ISO 14001:200</a:t>
            </a:r>
            <a:r>
              <a:rPr lang="ru-RU" sz="1300" dirty="0" smtClean="0">
                <a:solidFill>
                  <a:srgbClr val="000000"/>
                </a:solidFill>
                <a:latin typeface="Arial Narrow" pitchFamily="34" charset="0"/>
              </a:rPr>
              <a:t>7</a:t>
            </a: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300" dirty="0" smtClean="0">
                <a:solidFill>
                  <a:srgbClr val="000000"/>
                </a:solidFill>
                <a:latin typeface="Arial Narrow" pitchFamily="34" charset="0"/>
              </a:rPr>
              <a:t>ISO/TS 16949</a:t>
            </a:r>
            <a:r>
              <a:rPr lang="ru-RU" sz="1300" dirty="0" smtClean="0">
                <a:solidFill>
                  <a:srgbClr val="000000"/>
                </a:solidFill>
                <a:latin typeface="Arial Narrow" pitchFamily="34" charset="0"/>
              </a:rPr>
              <a:t>:</a:t>
            </a:r>
            <a:r>
              <a:rPr lang="en-US" sz="1300" dirty="0" smtClean="0">
                <a:solidFill>
                  <a:srgbClr val="000000"/>
                </a:solidFill>
                <a:latin typeface="Arial Narrow" pitchFamily="34" charset="0"/>
              </a:rPr>
              <a:t>2009</a:t>
            </a:r>
            <a:endParaRPr lang="ru-RU" sz="1300" dirty="0" smtClean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78667" y="3046830"/>
            <a:ext cx="4093334" cy="1500926"/>
          </a:xfrm>
          <a:prstGeom prst="rect">
            <a:avLst/>
          </a:prstGeom>
        </p:spPr>
        <p:txBody>
          <a:bodyPr wrap="square" lIns="99569" tIns="49785" rIns="99569" bIns="49785">
            <a:spAutoFit/>
          </a:bodyPr>
          <a:lstStyle/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Электроцентробежные насосы (ЭЦН)</a:t>
            </a: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Газосепараторы</a:t>
            </a: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 err="1" smtClean="0">
                <a:solidFill>
                  <a:srgbClr val="000000"/>
                </a:solidFill>
                <a:latin typeface="Arial Narrow" pitchFamily="34" charset="0"/>
              </a:rPr>
              <a:t>Гидрозащиты</a:t>
            </a:r>
            <a:endParaRPr lang="ru-RU" sz="1300" dirty="0">
              <a:solidFill>
                <a:srgbClr val="000000"/>
              </a:solidFill>
              <a:latin typeface="Arial Narrow" pitchFamily="34" charset="0"/>
            </a:endParaRP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Погружные электродвигатели</a:t>
            </a: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Запасные части и комплектующие к УЭЦН</a:t>
            </a: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Альтернативная продукция (тормозные диски)</a:t>
            </a: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flipV="1">
            <a:off x="528930" y="2961051"/>
            <a:ext cx="3305602" cy="1434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528930" y="4887310"/>
            <a:ext cx="3233594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979152" y="1392830"/>
            <a:ext cx="6806534" cy="931523"/>
          </a:xfrm>
          <a:prstGeom prst="rect">
            <a:avLst/>
          </a:prstGeom>
          <a:noFill/>
        </p:spPr>
        <p:txBody>
          <a:bodyPr wrap="square" lIns="99551" tIns="49777" rIns="99551" bIns="49777" rtlCol="0">
            <a:spAutoFit/>
          </a:bodyPr>
          <a:lstStyle>
            <a:defPPr>
              <a:defRPr lang="ru-RU"/>
            </a:defPPr>
            <a:lvl1pPr>
              <a:defRPr sz="1800" cap="all">
                <a:solidFill>
                  <a:schemeClr val="accent1"/>
                </a:solidFill>
                <a:latin typeface="Arial Narrow" pitchFamily="34" charset="0"/>
              </a:defRPr>
            </a:lvl1pPr>
          </a:lstStyle>
          <a:p>
            <a:pPr algn="ctr"/>
            <a:r>
              <a:rPr lang="ru-RU" b="1" dirty="0">
                <a:solidFill>
                  <a:srgbClr val="106A6A"/>
                </a:solidFill>
              </a:rPr>
              <a:t>АЛЬМЕТЬЕВСКИЙ ЗАВОД ГРУППЫ ВХОДИТ В ТРОЙКУ КРУПНЕЙШИХ В РОССИИ ПРОИЗВОДИТЕЛЕЙ УСТАНОВОК ЭЛЕКТРОЦЕНТРОБЕЖНЫХ НАСОСОВ</a:t>
            </a:r>
          </a:p>
        </p:txBody>
      </p:sp>
    </p:spTree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9625716" y="5606650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453188" y="302802"/>
            <a:ext cx="7688017" cy="878628"/>
          </a:xfrm>
        </p:spPr>
        <p:txBody>
          <a:bodyPr>
            <a:noAutofit/>
          </a:bodyPr>
          <a:lstStyle/>
          <a:p>
            <a:r>
              <a:rPr lang="ru-RU" sz="2646" dirty="0">
                <a:solidFill>
                  <a:schemeClr val="tx1"/>
                </a:solidFill>
              </a:rPr>
              <a:t>ПРОИЗВОДСТВЕННЫЕ ВОЗМОЖНОСТИ</a:t>
            </a:r>
            <a:br>
              <a:rPr lang="ru-RU" sz="2646" dirty="0">
                <a:solidFill>
                  <a:schemeClr val="tx1"/>
                </a:solidFill>
              </a:rPr>
            </a:br>
            <a:r>
              <a:rPr lang="ru-RU" sz="2646" dirty="0">
                <a:solidFill>
                  <a:srgbClr val="106A6A"/>
                </a:solidFill>
              </a:rPr>
              <a:t>ООО «АЛНАС»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06526"/>
            <a:fld id="{A2AE5357-0EF1-4AE0-A6D9-5A1EFB67B5F9}" type="slidenum">
              <a:rPr lang="ru-RU" sz="1600" b="1">
                <a:solidFill>
                  <a:srgbClr val="7F7F7F"/>
                </a:solidFill>
                <a:latin typeface="Arial Narrow"/>
              </a:rPr>
              <a:pPr defTabSz="1006526"/>
              <a:t>6</a:t>
            </a:fld>
            <a:endParaRPr lang="ru-RU" sz="1600" b="1">
              <a:solidFill>
                <a:srgbClr val="7F7F7F"/>
              </a:solidFill>
              <a:latin typeface="Arial Narrow"/>
            </a:endParaRPr>
          </a:p>
        </p:txBody>
      </p:sp>
      <p:pic>
        <p:nvPicPr>
          <p:cNvPr id="525314" name="Picture 2" descr="E:\Алнас\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5876" y="1338197"/>
            <a:ext cx="3813084" cy="2542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E:\Алнас\ZYB_1071.jpg"/>
          <p:cNvPicPr>
            <a:picLocks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137" y="3935728"/>
            <a:ext cx="3814369" cy="2544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E:\Алнас\Сборочный цех.jpg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4716" y="3935728"/>
            <a:ext cx="3825746" cy="2544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://www.rimera.com/upload/iblock/063/Alnas6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4716" y="1338197"/>
            <a:ext cx="3825746" cy="2542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535876" y="6562182"/>
            <a:ext cx="7704585" cy="431657"/>
          </a:xfrm>
          <a:prstGeom prst="rect">
            <a:avLst/>
          </a:prstGeom>
          <a:solidFill>
            <a:srgbClr val="106A6A"/>
          </a:solidFill>
        </p:spPr>
        <p:txBody>
          <a:bodyPr wrap="square" rtlCol="0" anchor="ctr">
            <a:spAutoFit/>
          </a:bodyPr>
          <a:lstStyle/>
          <a:p>
            <a:pPr algn="ctr" defTabSz="1006526"/>
            <a:r>
              <a:rPr lang="ru-RU" sz="2205" b="1" dirty="0">
                <a:solidFill>
                  <a:prstClr val="white"/>
                </a:solidFill>
                <a:latin typeface="Arial Narrow"/>
              </a:rPr>
              <a:t>Производственные мощности – 7500 ЭЦН в год</a:t>
            </a:r>
          </a:p>
        </p:txBody>
      </p:sp>
    </p:spTree>
    <p:extLst>
      <p:ext uri="{BB962C8B-B14F-4D97-AF65-F5344CB8AC3E}">
        <p14:creationId xmlns:p14="http://schemas.microsoft.com/office/powerpoint/2010/main" val="326802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Диаграмма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2921363"/>
              </p:ext>
            </p:extLst>
          </p:nvPr>
        </p:nvGraphicFramePr>
        <p:xfrm>
          <a:off x="6846898" y="2851937"/>
          <a:ext cx="2904466" cy="26913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6" name="Рисунок 25" descr="2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29" y="3441"/>
            <a:ext cx="10688542" cy="7554380"/>
          </a:xfrm>
          <a:prstGeom prst="rect">
            <a:avLst/>
          </a:prstGeom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4132254" y="272847"/>
            <a:ext cx="6000792" cy="936016"/>
          </a:xfrm>
          <a:prstGeom prst="rect">
            <a:avLst/>
          </a:prstGeom>
        </p:spPr>
        <p:txBody>
          <a:bodyPr vert="horz" lIns="99569" tIns="49785" rIns="99569" bIns="49785" rtlCol="0" anchor="ctr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ru-RU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  <a:ea typeface="+mj-ea"/>
                <a:cs typeface="+mj-cs"/>
              </a:rPr>
              <a:t>ОБОРУДОВАНИЕ ДЛЯ НЕФТЕДОБЫЧИ </a:t>
            </a:r>
            <a:r>
              <a:rPr lang="ru-RU" sz="2800" b="1" dirty="0" smtClean="0">
                <a:solidFill>
                  <a:srgbClr val="0070C0"/>
                </a:solidFill>
                <a:latin typeface="Arial Narrow" pitchFamily="34" charset="0"/>
                <a:ea typeface="+mj-ea"/>
                <a:cs typeface="+mj-cs"/>
              </a:rPr>
              <a:t>ИЖНЕФТЕМАШ</a:t>
            </a:r>
            <a:endParaRPr lang="ru-RU" sz="2800" b="1" dirty="0">
              <a:solidFill>
                <a:srgbClr val="0070C0"/>
              </a:solidFill>
              <a:latin typeface="Arial Narrow" pitchFamily="34" charset="0"/>
              <a:ea typeface="+mj-ea"/>
              <a:cs typeface="+mj-cs"/>
            </a:endParaRPr>
          </a:p>
        </p:txBody>
      </p:sp>
      <p:pic>
        <p:nvPicPr>
          <p:cNvPr id="13" name="Picture 6" descr="N:\Римера - ОРД\Новое\По предприятиям ГК Римера\По предприятиям ГК Римера\Ижнефтемаш\Logo INM_rus_vertikal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204352" y="1423177"/>
            <a:ext cx="834898" cy="1132715"/>
          </a:xfrm>
          <a:prstGeom prst="rect">
            <a:avLst/>
          </a:prstGeom>
          <a:noFill/>
        </p:spPr>
      </p:pic>
      <p:sp>
        <p:nvSpPr>
          <p:cNvPr id="18" name="Прямоугольник 17"/>
          <p:cNvSpPr/>
          <p:nvPr/>
        </p:nvSpPr>
        <p:spPr>
          <a:xfrm>
            <a:off x="7191502" y="5784552"/>
            <a:ext cx="155463" cy="15878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7191501" y="5487022"/>
            <a:ext cx="155463" cy="15878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69" tIns="49785" rIns="99569" bIns="49785"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4015101" y="5361701"/>
            <a:ext cx="2647890" cy="12085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9569" tIns="49785" rIns="99569" bIns="49785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Объем </a:t>
            </a:r>
          </a:p>
          <a:p>
            <a:pPr algn="ctr"/>
            <a:r>
              <a:rPr lang="ru-RU" sz="14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производства в 2017 году</a:t>
            </a:r>
          </a:p>
          <a:p>
            <a:pPr algn="ctr"/>
            <a:r>
              <a:rPr lang="ru-RU" sz="3000" b="1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5 244</a:t>
            </a:r>
          </a:p>
          <a:p>
            <a:pPr algn="ctr"/>
            <a:r>
              <a:rPr lang="ru-RU" sz="1400" b="1" dirty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г</a:t>
            </a:r>
            <a:r>
              <a:rPr lang="ru-RU" sz="14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лубинных штанговых насосов </a:t>
            </a:r>
            <a:endParaRPr lang="ru-RU" sz="1200" b="1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418402" y="5724302"/>
            <a:ext cx="895116" cy="300597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ru-RU" sz="13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рочие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418402" y="5423705"/>
            <a:ext cx="1556481" cy="300597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ru-RU" sz="13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«</a:t>
            </a:r>
            <a:r>
              <a:rPr lang="ru-RU" sz="13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Ижнефтемаш</a:t>
            </a:r>
            <a:r>
              <a:rPr lang="ru-RU" sz="13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»</a:t>
            </a:r>
            <a:endParaRPr lang="ru-RU" sz="13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pic>
        <p:nvPicPr>
          <p:cNvPr id="42" name="Picture 3" descr="C:\Users\Irina.Kozhukhovskaya\Desktop\ФБ\Фотоальбомы\Ижнефтемаш\Муфты НКТ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5101" y="4339463"/>
            <a:ext cx="1265077" cy="927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5101" y="2423309"/>
            <a:ext cx="2647890" cy="1820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TextBox 47"/>
          <p:cNvSpPr txBox="1"/>
          <p:nvPr/>
        </p:nvSpPr>
        <p:spPr>
          <a:xfrm>
            <a:off x="7146900" y="2611582"/>
            <a:ext cx="2000264" cy="592985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r>
              <a:rPr lang="ru-RU" sz="1600" b="1" dirty="0" smtClean="0">
                <a:solidFill>
                  <a:srgbClr val="1D68B0"/>
                </a:solidFill>
                <a:latin typeface="Arial Narrow" pitchFamily="34" charset="0"/>
                <a:cs typeface="Arial" pitchFamily="34" charset="0"/>
              </a:rPr>
              <a:t>Доля на рынке ШГН</a:t>
            </a:r>
          </a:p>
          <a:p>
            <a:r>
              <a:rPr lang="ru-RU" sz="1600" b="1" dirty="0" smtClean="0">
                <a:solidFill>
                  <a:srgbClr val="1D68B0"/>
                </a:solidFill>
                <a:latin typeface="Arial Narrow" pitchFamily="34" charset="0"/>
                <a:cs typeface="Arial" pitchFamily="34" charset="0"/>
              </a:rPr>
              <a:t>(2017 год)</a:t>
            </a:r>
            <a:endParaRPr lang="ru-RU" sz="1600" b="1" dirty="0">
              <a:solidFill>
                <a:srgbClr val="1D68B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9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847030" y="6852465"/>
            <a:ext cx="428628" cy="500066"/>
          </a:xfrm>
        </p:spPr>
        <p:txBody>
          <a:bodyPr/>
          <a:lstStyle/>
          <a:p>
            <a:pPr algn="ctr"/>
            <a:fld id="{725C68B6-61C2-468F-89AB-4B9F7531AA68}" type="slidenum">
              <a:rPr lang="ru-RU" sz="1600" b="1" smtClean="0"/>
              <a:pPr algn="ctr"/>
              <a:t>7</a:t>
            </a:fld>
            <a:endParaRPr lang="ru-RU" sz="1600" b="1" dirty="0"/>
          </a:p>
        </p:txBody>
      </p:sp>
      <p:pic>
        <p:nvPicPr>
          <p:cNvPr id="27" name="Picture 2" descr="C:\Users\Irina.Kozhukhovskaya\Documents\Мои полученные файлы\20150531_201945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21" t="1157" r="1941" b="6111"/>
          <a:stretch/>
        </p:blipFill>
        <p:spPr bwMode="auto">
          <a:xfrm>
            <a:off x="5360351" y="4339462"/>
            <a:ext cx="1302640" cy="927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912661" y="1485301"/>
            <a:ext cx="6895379" cy="654540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70C0"/>
                </a:solidFill>
                <a:latin typeface="Arial Narrow" pitchFamily="34" charset="0"/>
                <a:cs typeface="Arial" pitchFamily="34" charset="0"/>
              </a:rPr>
              <a:t>ИЖЕВСКИЙ ЗАВОД ГРУППЫ – КРУПНЕЙШИЙ В  РОССИИ  ПРОИЗВОДИТЕЛЬ УСТАНОВОК ГЛУБИННО-ШТАНГОВЫХ НАСОСОВ</a:t>
            </a:r>
            <a:endParaRPr lang="ru-RU" sz="1800" b="1" dirty="0">
              <a:solidFill>
                <a:srgbClr val="0070C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57199" y="2765427"/>
            <a:ext cx="3477729" cy="1700980"/>
          </a:xfrm>
          <a:prstGeom prst="rect">
            <a:avLst/>
          </a:prstGeom>
        </p:spPr>
        <p:txBody>
          <a:bodyPr wrap="square" lIns="99569" tIns="49785" rIns="99569" bIns="49785">
            <a:spAutoFit/>
          </a:bodyPr>
          <a:lstStyle/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 smtClean="0">
                <a:solidFill>
                  <a:srgbClr val="000000"/>
                </a:solidFill>
                <a:latin typeface="Arial Narrow" pitchFamily="34" charset="0"/>
              </a:rPr>
              <a:t>Приводы УШГН</a:t>
            </a:r>
            <a:endParaRPr lang="ru-RU" sz="1300" dirty="0">
              <a:solidFill>
                <a:srgbClr val="000000"/>
              </a:solidFill>
              <a:latin typeface="Arial Narrow" pitchFamily="34" charset="0"/>
            </a:endParaRP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Штанговые глубинные насосы (ШГН)</a:t>
            </a: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Спецтехника для нефтепромысла</a:t>
            </a: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Буровые ключи и ключи для ремонта скважин</a:t>
            </a: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Буровые насосы и насосы для цементирования скважин</a:t>
            </a:r>
          </a:p>
          <a:p>
            <a:pPr marL="285750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ru-RU" sz="1300" dirty="0">
                <a:solidFill>
                  <a:srgbClr val="000000"/>
                </a:solidFill>
                <a:latin typeface="Arial Narrow" pitchFamily="34" charset="0"/>
              </a:rPr>
              <a:t>Станции управления УЭЦН </a:t>
            </a:r>
            <a:endParaRPr lang="en-GB" sz="1300" dirty="0" smtClean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57200" y="5022656"/>
            <a:ext cx="4114800" cy="780729"/>
          </a:xfrm>
          <a:prstGeom prst="rect">
            <a:avLst/>
          </a:prstGeom>
        </p:spPr>
        <p:txBody>
          <a:bodyPr wrap="square" lIns="99569" tIns="49785" rIns="99569" bIns="49785">
            <a:spAutoFit/>
          </a:bodyPr>
          <a:lstStyle/>
          <a:p>
            <a:pPr marL="190675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300" dirty="0" smtClean="0">
                <a:solidFill>
                  <a:srgbClr val="000000"/>
                </a:solidFill>
                <a:latin typeface="Arial Narrow" pitchFamily="34" charset="0"/>
              </a:rPr>
              <a:t>  ISO</a:t>
            </a:r>
            <a:r>
              <a:rPr lang="ru-RU" sz="1300" dirty="0" smtClean="0">
                <a:solidFill>
                  <a:srgbClr val="000000"/>
                </a:solidFill>
                <a:latin typeface="Arial Narrow" pitchFamily="34" charset="0"/>
              </a:rPr>
              <a:t> 9001-2000</a:t>
            </a:r>
          </a:p>
          <a:p>
            <a:pPr marL="190675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300" dirty="0" smtClean="0">
                <a:solidFill>
                  <a:srgbClr val="000000"/>
                </a:solidFill>
                <a:latin typeface="Arial Narrow" pitchFamily="34" charset="0"/>
              </a:rPr>
              <a:t>  </a:t>
            </a:r>
            <a:r>
              <a:rPr lang="ru-RU" sz="1300" dirty="0" smtClean="0">
                <a:solidFill>
                  <a:srgbClr val="000000"/>
                </a:solidFill>
                <a:latin typeface="Arial Narrow" pitchFamily="34" charset="0"/>
              </a:rPr>
              <a:t>API </a:t>
            </a:r>
            <a:r>
              <a:rPr lang="ru-RU" sz="1300" dirty="0" err="1" smtClean="0">
                <a:solidFill>
                  <a:srgbClr val="000000"/>
                </a:solidFill>
                <a:latin typeface="Arial Narrow" pitchFamily="34" charset="0"/>
              </a:rPr>
              <a:t>Spec</a:t>
            </a:r>
            <a:r>
              <a:rPr lang="ru-RU" sz="1300" dirty="0" smtClean="0">
                <a:solidFill>
                  <a:srgbClr val="000000"/>
                </a:solidFill>
                <a:latin typeface="Arial Narrow" pitchFamily="34" charset="0"/>
              </a:rPr>
              <a:t> Q1 </a:t>
            </a:r>
            <a:endParaRPr lang="en-US" sz="1300" dirty="0" smtClean="0">
              <a:solidFill>
                <a:srgbClr val="000000"/>
              </a:solidFill>
              <a:latin typeface="Arial Narrow" pitchFamily="34" charset="0"/>
            </a:endParaRPr>
          </a:p>
          <a:p>
            <a:pPr marL="190675" indent="-285750" defTabSz="926545" fontAlgn="base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</a:pPr>
            <a:r>
              <a:rPr lang="en-US" sz="1300" dirty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sz="1300" dirty="0" smtClean="0">
                <a:solidFill>
                  <a:srgbClr val="000000"/>
                </a:solidFill>
                <a:latin typeface="Arial Narrow" pitchFamily="34" charset="0"/>
              </a:rPr>
              <a:t>API Spec 11AX</a:t>
            </a:r>
            <a:endParaRPr lang="ru-RU" sz="1300" dirty="0" smtClean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40887" y="2369681"/>
            <a:ext cx="2246002" cy="33933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just"/>
            <a:r>
              <a:rPr lang="ru-RU" sz="1500" b="1" dirty="0" smtClean="0">
                <a:solidFill>
                  <a:srgbClr val="0070C0"/>
                </a:solidFill>
                <a:latin typeface="Arial Narrow" pitchFamily="34" charset="0"/>
                <a:cs typeface="Arial" pitchFamily="34" charset="0"/>
              </a:rPr>
              <a:t>ПРОДУКЦИЯ</a:t>
            </a:r>
            <a:endParaRPr lang="ru-RU" sz="1300" b="1" dirty="0">
              <a:solidFill>
                <a:srgbClr val="0070C0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40887" y="4617741"/>
            <a:ext cx="2174564" cy="33933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just"/>
            <a:r>
              <a:rPr lang="ru-RU" sz="1500" b="1" dirty="0" smtClean="0">
                <a:solidFill>
                  <a:srgbClr val="0070C0"/>
                </a:solidFill>
                <a:latin typeface="Arial Narrow" pitchFamily="34" charset="0"/>
                <a:cs typeface="Arial" pitchFamily="34" charset="0"/>
              </a:rPr>
              <a:t>СЕРТИФИКАТЫ</a:t>
            </a:r>
            <a:endParaRPr lang="ru-RU" sz="1300" b="1" dirty="0">
              <a:solidFill>
                <a:srgbClr val="0070C0"/>
              </a:solidFill>
              <a:latin typeface="Arial Narrow" pitchFamily="34" charset="0"/>
              <a:cs typeface="Arial" pitchFamily="34" charset="0"/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440887" y="2726871"/>
            <a:ext cx="3393645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40887" y="4950632"/>
            <a:ext cx="3393645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140941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9625716" y="5606650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430975" y="302802"/>
            <a:ext cx="7688017" cy="878628"/>
          </a:xfrm>
        </p:spPr>
        <p:txBody>
          <a:bodyPr>
            <a:noAutofit/>
          </a:bodyPr>
          <a:lstStyle/>
          <a:p>
            <a:pPr defTabSz="986733"/>
            <a:r>
              <a:rPr lang="ru-RU" sz="2646" dirty="0">
                <a:solidFill>
                  <a:schemeClr val="tx1"/>
                </a:solidFill>
              </a:rPr>
              <a:t>ПРОИЗВОДСТВЕННЫЕ ВОЗМОЖНОСТИ</a:t>
            </a:r>
            <a:br>
              <a:rPr lang="ru-RU" sz="2646" dirty="0">
                <a:solidFill>
                  <a:schemeClr val="tx1"/>
                </a:solidFill>
              </a:rPr>
            </a:br>
            <a:r>
              <a:rPr lang="ru-RU" sz="2646" dirty="0">
                <a:solidFill>
                  <a:srgbClr val="0070C0"/>
                </a:solidFill>
              </a:rPr>
              <a:t>ПАО «ИЖНЕФТЕМАШ»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006526"/>
            <a:fld id="{A2AE5357-0EF1-4AE0-A6D9-5A1EFB67B5F9}" type="slidenum">
              <a:rPr lang="ru-RU" sz="1600" b="1">
                <a:solidFill>
                  <a:srgbClr val="7F7F7F"/>
                </a:solidFill>
                <a:latin typeface="Arial Narrow"/>
              </a:rPr>
              <a:pPr defTabSz="1006526"/>
              <a:t>8</a:t>
            </a:fld>
            <a:endParaRPr lang="ru-RU" sz="1600" b="1">
              <a:solidFill>
                <a:srgbClr val="7F7F7F"/>
              </a:solidFill>
              <a:latin typeface="Arial Narrow"/>
            </a:endParaRPr>
          </a:p>
        </p:txBody>
      </p:sp>
      <p:pic>
        <p:nvPicPr>
          <p:cNvPr id="5" name="Рисунок 4" descr="C:\Users\olga.matochkina\AppData\Local\Microsoft\Windows\Temporary Internet Files\Content.Outlook\GANVBNSO\DSC09189 (3)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479" y="4971514"/>
            <a:ext cx="3242384" cy="1874207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30" descr="Ижнефтемаш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24" y="1366901"/>
            <a:ext cx="2846939" cy="1669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Рисунок 14" descr="C:\Users\Vera.Zhevlakova.RIMERA\AppData\Local\Microsoft\Windows\Temporary Internet Files\Content.Outlook\7PA946FX\_DSC6553 (2)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8480" y="1366901"/>
            <a:ext cx="5797210" cy="355945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Рисунок 15" descr="C:\Users\Vera.Zhevlakova.RIMERA\AppData\Local\Microsoft\Windows\Temporary Internet Files\Content.Outlook\7PA946FX\DSC02524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524" y="3089693"/>
            <a:ext cx="2846939" cy="18366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Рисунок 22" descr="C:\Users\Vera.Zhevlakova.RIMERA\AppData\Local\Microsoft\Windows\Temporary Internet Files\Content.Outlook\7PA946FX\DSC07621 (2).jpg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52112" y="4971514"/>
            <a:ext cx="2502742" cy="187420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973524" y="5009371"/>
            <a:ext cx="2846939" cy="178959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defTabSz="1006526"/>
            <a:r>
              <a:rPr lang="ru-RU" sz="1764" u="sng" dirty="0">
                <a:solidFill>
                  <a:prstClr val="white"/>
                </a:solidFill>
                <a:latin typeface="Arial Narrow"/>
              </a:rPr>
              <a:t>Производственные мощности</a:t>
            </a:r>
            <a:r>
              <a:rPr lang="ru-RU" sz="1764" dirty="0">
                <a:solidFill>
                  <a:prstClr val="white"/>
                </a:solidFill>
                <a:latin typeface="Arial Narrow"/>
              </a:rPr>
              <a:t>:</a:t>
            </a:r>
          </a:p>
          <a:p>
            <a:pPr marL="378047" indent="-378047" defTabSz="1006526">
              <a:buFont typeface="Wingdings" panose="05000000000000000000" pitchFamily="2" charset="2"/>
              <a:buChar char="ü"/>
            </a:pPr>
            <a:r>
              <a:rPr lang="ru-RU" sz="1544" dirty="0">
                <a:solidFill>
                  <a:prstClr val="white"/>
                </a:solidFill>
                <a:latin typeface="Arial Narrow"/>
              </a:rPr>
              <a:t>10 800 ШГН,</a:t>
            </a:r>
          </a:p>
          <a:p>
            <a:pPr marL="378047" indent="-378047" defTabSz="1006526">
              <a:buFont typeface="Wingdings" panose="05000000000000000000" pitchFamily="2" charset="2"/>
              <a:buChar char="ü"/>
            </a:pPr>
            <a:r>
              <a:rPr lang="ru-RU" sz="1544" dirty="0">
                <a:solidFill>
                  <a:prstClr val="white"/>
                </a:solidFill>
                <a:latin typeface="Arial Narrow"/>
              </a:rPr>
              <a:t>600 приводов,</a:t>
            </a:r>
          </a:p>
          <a:p>
            <a:pPr marL="378047" indent="-378047" defTabSz="1006526">
              <a:buFont typeface="Wingdings" panose="05000000000000000000" pitchFamily="2" charset="2"/>
              <a:buChar char="ü"/>
            </a:pPr>
            <a:r>
              <a:rPr lang="ru-RU" sz="1544" dirty="0">
                <a:solidFill>
                  <a:prstClr val="white"/>
                </a:solidFill>
                <a:latin typeface="Arial Narrow"/>
              </a:rPr>
              <a:t>180 ед. спецтехники</a:t>
            </a:r>
          </a:p>
          <a:p>
            <a:pPr marL="378047" indent="-378047" defTabSz="1006526">
              <a:buFont typeface="Wingdings" panose="05000000000000000000" pitchFamily="2" charset="2"/>
              <a:buChar char="ü"/>
            </a:pPr>
            <a:r>
              <a:rPr lang="ru-RU" sz="1544" dirty="0">
                <a:solidFill>
                  <a:prstClr val="white"/>
                </a:solidFill>
                <a:latin typeface="Arial Narrow"/>
              </a:rPr>
              <a:t>180 ед. буровых ключей</a:t>
            </a:r>
          </a:p>
          <a:p>
            <a:pPr marL="378047" indent="-378047" defTabSz="1006526">
              <a:buFont typeface="Wingdings" panose="05000000000000000000" pitchFamily="2" charset="2"/>
              <a:buChar char="ü"/>
            </a:pPr>
            <a:r>
              <a:rPr lang="ru-RU" sz="1544" dirty="0">
                <a:solidFill>
                  <a:prstClr val="white"/>
                </a:solidFill>
                <a:latin typeface="Arial Narrow"/>
              </a:rPr>
              <a:t>1,6 млн. муфт НКТ</a:t>
            </a:r>
          </a:p>
          <a:p>
            <a:pPr marL="378047" indent="-378047" defTabSz="1006526">
              <a:buFont typeface="Wingdings" panose="05000000000000000000" pitchFamily="2" charset="2"/>
              <a:buChar char="ü"/>
            </a:pPr>
            <a:r>
              <a:rPr lang="ru-RU" sz="1544" dirty="0">
                <a:solidFill>
                  <a:prstClr val="white"/>
                </a:solidFill>
                <a:latin typeface="Arial Narrow"/>
              </a:rPr>
              <a:t>720 станций управления ЭЦН</a:t>
            </a:r>
          </a:p>
        </p:txBody>
      </p:sp>
    </p:spTree>
    <p:extLst>
      <p:ext uri="{BB962C8B-B14F-4D97-AF65-F5344CB8AC3E}">
        <p14:creationId xmlns:p14="http://schemas.microsoft.com/office/powerpoint/2010/main" val="199012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Рисунок 38" descr="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29" y="3441"/>
            <a:ext cx="10688542" cy="7554380"/>
          </a:xfrm>
          <a:prstGeom prst="rect">
            <a:avLst/>
          </a:prstGeom>
        </p:spPr>
      </p:pic>
      <p:graphicFrame>
        <p:nvGraphicFramePr>
          <p:cNvPr id="36" name="Диаграмма 3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3739923"/>
              </p:ext>
            </p:extLst>
          </p:nvPr>
        </p:nvGraphicFramePr>
        <p:xfrm>
          <a:off x="6704022" y="4878088"/>
          <a:ext cx="3557964" cy="2320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7" name="Диаграмма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6249475"/>
              </p:ext>
            </p:extLst>
          </p:nvPr>
        </p:nvGraphicFramePr>
        <p:xfrm>
          <a:off x="6132518" y="2592072"/>
          <a:ext cx="3490914" cy="2317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6704022" y="4663774"/>
            <a:ext cx="2214578" cy="762246"/>
          </a:xfrm>
          <a:prstGeom prst="rect">
            <a:avLst/>
          </a:prstGeom>
          <a:noFill/>
        </p:spPr>
        <p:txBody>
          <a:bodyPr wrap="square" lIns="99551" tIns="49777" rIns="99551" bIns="49777">
            <a:spAutoFit/>
          </a:bodyPr>
          <a:lstStyle/>
          <a:p>
            <a:pPr defTabSz="995514">
              <a:defRPr/>
            </a:pPr>
            <a:r>
              <a:rPr lang="ru-RU" sz="1400" b="1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Доля рынка </a:t>
            </a:r>
          </a:p>
          <a:p>
            <a:pPr defTabSz="995514">
              <a:defRPr/>
            </a:pPr>
            <a:r>
              <a:rPr lang="ru-RU" sz="1400" b="1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по ремонту </a:t>
            </a:r>
            <a:r>
              <a:rPr lang="ru-RU" sz="1400" b="1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НКТ (2017 год) </a:t>
            </a:r>
            <a:endParaRPr lang="ru-RU" sz="1400" b="1" dirty="0">
              <a:solidFill>
                <a:srgbClr val="3AA08F"/>
              </a:solidFill>
              <a:latin typeface="Arial Narrow" pitchFamily="34" charset="0"/>
              <a:cs typeface="Arial" pitchFamily="34" charset="0"/>
            </a:endParaRPr>
          </a:p>
          <a:p>
            <a:pPr algn="just" defTabSz="995514">
              <a:defRPr/>
            </a:pPr>
            <a:r>
              <a:rPr lang="ru-RU" sz="1500" b="1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                         </a:t>
            </a:r>
            <a:endParaRPr lang="ru-RU" sz="1300" b="1" dirty="0">
              <a:solidFill>
                <a:srgbClr val="3AA08F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729793" y="2289554"/>
            <a:ext cx="2403121" cy="746857"/>
          </a:xfrm>
          <a:prstGeom prst="rect">
            <a:avLst/>
          </a:prstGeom>
          <a:noFill/>
        </p:spPr>
        <p:txBody>
          <a:bodyPr wrap="square" lIns="99551" tIns="49777" rIns="99551" bIns="49777" rtlCol="0">
            <a:spAutoFit/>
          </a:bodyPr>
          <a:lstStyle/>
          <a:p>
            <a:r>
              <a:rPr lang="ru-RU" sz="1400" b="1" dirty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Доля рынка среди </a:t>
            </a:r>
            <a:r>
              <a:rPr lang="ru-RU" sz="1400" b="1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независимых игроков УЭЦН</a:t>
            </a:r>
            <a:r>
              <a:rPr lang="en-US" sz="1400" b="1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rgbClr val="3AA08F"/>
                </a:solidFill>
                <a:latin typeface="Arial Narrow" pitchFamily="34" charset="0"/>
                <a:cs typeface="Arial" pitchFamily="34" charset="0"/>
              </a:rPr>
              <a:t>(2017 год)</a:t>
            </a:r>
            <a:endParaRPr lang="ru-RU" sz="1400" b="1" dirty="0">
              <a:solidFill>
                <a:srgbClr val="3AA08F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3585568" y="287338"/>
            <a:ext cx="6580467" cy="921525"/>
          </a:xfrm>
          <a:prstGeom prst="rect">
            <a:avLst/>
          </a:prstGeom>
        </p:spPr>
        <p:txBody>
          <a:bodyPr vert="horz" lIns="99551" tIns="49777" rIns="99551" bIns="49777" rtlCol="0" anchor="ctr">
            <a:noAutofit/>
          </a:bodyPr>
          <a:lstStyle/>
          <a:p>
            <a:pPr algn="r">
              <a:spcBef>
                <a:spcPct val="0"/>
              </a:spcBef>
              <a:defRPr/>
            </a:pPr>
            <a:r>
              <a:rPr lang="ru-RU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СЕРВИС </a:t>
            </a:r>
            <a:r>
              <a:rPr lang="ru-RU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НЕФТЯНОГО ОБОРУДОВАНИЯ</a:t>
            </a:r>
            <a:endParaRPr lang="ru-RU" sz="28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  <a:p>
            <a:pPr algn="r">
              <a:spcBef>
                <a:spcPct val="0"/>
              </a:spcBef>
              <a:defRPr/>
            </a:pPr>
            <a:r>
              <a:rPr lang="ru-RU" sz="2800" b="1" dirty="0" smtClean="0">
                <a:solidFill>
                  <a:srgbClr val="3AA08F"/>
                </a:solidFill>
                <a:latin typeface="Arial Narrow" pitchFamily="34" charset="0"/>
              </a:rPr>
              <a:t>РИМЕРА-СЕРВИС</a:t>
            </a:r>
            <a:endParaRPr lang="ru-RU" sz="2800" b="1" dirty="0">
              <a:solidFill>
                <a:srgbClr val="3AA08F"/>
              </a:solidFill>
              <a:latin typeface="Arial Narrow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959549" y="3973256"/>
            <a:ext cx="1172876" cy="300581"/>
          </a:xfrm>
          <a:prstGeom prst="rect">
            <a:avLst/>
          </a:prstGeom>
        </p:spPr>
        <p:txBody>
          <a:bodyPr wrap="square" lIns="99551" tIns="49777" rIns="99551" bIns="4977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93572" indent="-193572" defTabSz="926382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3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рочие</a:t>
            </a:r>
            <a:endParaRPr lang="ru-RU" sz="13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959549" y="3735080"/>
            <a:ext cx="1224415" cy="300581"/>
          </a:xfrm>
          <a:prstGeom prst="rect">
            <a:avLst/>
          </a:prstGeom>
        </p:spPr>
        <p:txBody>
          <a:bodyPr wrap="square" lIns="99551" tIns="49777" rIns="99551" bIns="4977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93572" indent="-193572" defTabSz="926382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3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РС</a:t>
            </a:r>
            <a:endParaRPr lang="ru-RU" sz="13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775724" y="4052649"/>
            <a:ext cx="145100" cy="12556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51" tIns="49777" rIns="99551" bIns="49777" rtlCol="0" anchor="ctr"/>
          <a:lstStyle/>
          <a:p>
            <a:pPr algn="ctr"/>
            <a:endParaRPr lang="ru-RU" sz="1100"/>
          </a:p>
        </p:txBody>
      </p:sp>
      <p:sp>
        <p:nvSpPr>
          <p:cNvPr id="17" name="Прямоугольник 16"/>
          <p:cNvSpPr/>
          <p:nvPr/>
        </p:nvSpPr>
        <p:spPr>
          <a:xfrm>
            <a:off x="8775724" y="3814461"/>
            <a:ext cx="145100" cy="125561"/>
          </a:xfrm>
          <a:prstGeom prst="rect">
            <a:avLst/>
          </a:prstGeom>
          <a:solidFill>
            <a:srgbClr val="3AA0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51" tIns="49777" rIns="99551" bIns="49777" rtlCol="0" anchor="ctr"/>
          <a:lstStyle/>
          <a:p>
            <a:pPr algn="ctr"/>
            <a:endParaRPr lang="ru-RU" sz="1100"/>
          </a:p>
        </p:txBody>
      </p:sp>
      <p:sp>
        <p:nvSpPr>
          <p:cNvPr id="24" name="Прямоугольник 13"/>
          <p:cNvSpPr>
            <a:spLocks noChangeArrowheads="1"/>
          </p:cNvSpPr>
          <p:nvPr/>
        </p:nvSpPr>
        <p:spPr bwMode="auto">
          <a:xfrm>
            <a:off x="8969762" y="6525217"/>
            <a:ext cx="1255713" cy="300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7" rIns="99551" bIns="49777">
            <a:spAutoFit/>
          </a:bodyPr>
          <a:lstStyle/>
          <a:p>
            <a:pPr marL="192054" indent="-192054" defTabSz="92535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3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Прочие</a:t>
            </a:r>
            <a:endParaRPr lang="ru-RU" sz="13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25" name="Прямоугольник 14"/>
          <p:cNvSpPr>
            <a:spLocks noChangeArrowheads="1"/>
          </p:cNvSpPr>
          <p:nvPr/>
        </p:nvSpPr>
        <p:spPr bwMode="auto">
          <a:xfrm>
            <a:off x="8959549" y="6270773"/>
            <a:ext cx="1311275" cy="300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7" rIns="99551" bIns="49777">
            <a:spAutoFit/>
          </a:bodyPr>
          <a:lstStyle/>
          <a:p>
            <a:pPr marL="192054" indent="-192054" defTabSz="925350">
              <a:spcBef>
                <a:spcPct val="10000"/>
              </a:spcBef>
              <a:spcAft>
                <a:spcPct val="10000"/>
              </a:spcAft>
              <a:buClr>
                <a:srgbClr val="000000"/>
              </a:buClr>
              <a:buSzPct val="100000"/>
            </a:pPr>
            <a:r>
              <a:rPr lang="ru-RU" sz="13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РС</a:t>
            </a:r>
            <a:endParaRPr lang="ru-RU" sz="1300" b="1" dirty="0">
              <a:solidFill>
                <a:schemeClr val="tx1">
                  <a:lumMod val="50000"/>
                  <a:lumOff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805561" y="6586654"/>
            <a:ext cx="153988" cy="15875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51" tIns="49777" rIns="99551" bIns="49777" anchor="ctr"/>
          <a:lstStyle/>
          <a:p>
            <a:pPr algn="ctr" defTabSz="995514">
              <a:defRPr/>
            </a:pPr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8805561" y="6326300"/>
            <a:ext cx="153988" cy="158750"/>
          </a:xfrm>
          <a:prstGeom prst="rect">
            <a:avLst/>
          </a:prstGeom>
          <a:solidFill>
            <a:srgbClr val="3AA0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551" tIns="49777" rIns="99551" bIns="49777" anchor="ctr"/>
          <a:lstStyle/>
          <a:p>
            <a:pPr algn="ctr" defTabSz="995514">
              <a:defRPr/>
            </a:pPr>
            <a:endParaRPr lang="ru-RU"/>
          </a:p>
        </p:txBody>
      </p:sp>
      <p:pic>
        <p:nvPicPr>
          <p:cNvPr id="2117" name="Picture 69" descr="C:\Users\Irina.Kozhukhovskaya\Desktop\ФБ\Фотоальбомы\Римера-Сервис\rs\DEN_0926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9378" y="2347762"/>
            <a:ext cx="2653551" cy="1824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8" name="Picture 70" descr="C:\Users\Irina.Kozhukhovskaya\Desktop\ФБ\Фотоальбомы\Римера-Сервис\AMO_2969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353702" y="4261479"/>
            <a:ext cx="1289223" cy="913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3989378" y="5319949"/>
            <a:ext cx="2670363" cy="13316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9569" tIns="49785" rIns="99569" bIns="49785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В обслуживании</a:t>
            </a:r>
          </a:p>
          <a:p>
            <a:pPr algn="ctr"/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Римера-Сервис</a:t>
            </a:r>
            <a:endParaRPr lang="en-US" sz="1600" b="1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  <a:p>
            <a:pPr algn="ctr"/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каждая </a:t>
            </a:r>
            <a:r>
              <a:rPr lang="ru-RU" sz="1600" b="1" dirty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5</a:t>
            </a:r>
            <a:r>
              <a:rPr lang="ru-RU" sz="1600" b="1" dirty="0" smtClean="0">
                <a:solidFill>
                  <a:srgbClr val="C00000"/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ru-RU" sz="1600" b="1" dirty="0" smtClean="0">
                <a:solidFill>
                  <a:srgbClr val="106A6A"/>
                </a:solidFill>
                <a:latin typeface="Arial Narrow" pitchFamily="34" charset="0"/>
                <a:cs typeface="Arial" pitchFamily="34" charset="0"/>
              </a:rPr>
              <a:t>добывающая скважина на независимом рынке УЭЦН в России</a:t>
            </a:r>
            <a:endParaRPr lang="ru-RU" sz="1300" b="1" dirty="0">
              <a:solidFill>
                <a:srgbClr val="106A6A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28" name="Рисунок 27" descr="Рисунок6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204352" y="1328963"/>
            <a:ext cx="825893" cy="1143008"/>
          </a:xfrm>
          <a:prstGeom prst="rect">
            <a:avLst/>
          </a:prstGeom>
        </p:spPr>
      </p:pic>
      <p:sp>
        <p:nvSpPr>
          <p:cNvPr id="31" name="Номер слайда 26"/>
          <p:cNvSpPr>
            <a:spLocks noGrp="1"/>
          </p:cNvSpPr>
          <p:nvPr>
            <p:ph type="sldNum" sz="quarter" idx="12"/>
          </p:nvPr>
        </p:nvSpPr>
        <p:spPr>
          <a:xfrm>
            <a:off x="7847030" y="6852465"/>
            <a:ext cx="428628" cy="500066"/>
          </a:xfrm>
        </p:spPr>
        <p:txBody>
          <a:bodyPr/>
          <a:lstStyle/>
          <a:p>
            <a:pPr algn="ctr"/>
            <a:fld id="{725C68B6-61C2-468F-89AB-4B9F7531AA68}" type="slidenum">
              <a:rPr lang="ru-RU" sz="1600" b="1" smtClean="0"/>
              <a:pPr algn="ctr"/>
              <a:t>9</a:t>
            </a:fld>
            <a:endParaRPr lang="ru-RU" sz="1600" b="1" dirty="0"/>
          </a:p>
        </p:txBody>
      </p:sp>
      <p:pic>
        <p:nvPicPr>
          <p:cNvPr id="42" name="Picture 2" descr="C:\Users\Irina.Kozhukhovskaya\Desktop\Фотосессия предприятий 2016\РС Поволжье\5757576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1556" y="4261479"/>
            <a:ext cx="1289223" cy="913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9625716" y="5589496"/>
            <a:ext cx="515489" cy="14019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526"/>
            <a:endParaRPr lang="ru-RU" sz="1985">
              <a:solidFill>
                <a:prstClr val="white"/>
              </a:solidFill>
              <a:latin typeface="Arial Narrow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523628" y="2700761"/>
            <a:ext cx="3228406" cy="2211873"/>
          </a:xfrm>
          <a:prstGeom prst="rect">
            <a:avLst/>
          </a:prstGeom>
        </p:spPr>
        <p:txBody>
          <a:bodyPr wrap="square" lIns="99551" tIns="49777" rIns="99551" bIns="49777">
            <a:spAutoFit/>
          </a:bodyPr>
          <a:lstStyle/>
          <a:p>
            <a:pPr marL="285750" marR="0" lvl="0" indent="-285750" algn="just" defTabSz="926382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Сервисное обслуживание (СО) и ремонт </a:t>
            </a:r>
            <a:r>
              <a:rPr kumimoji="0" lang="ru-RU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ефтепогружного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оборудования (УЭЦН, ШГН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)</a:t>
            </a:r>
          </a:p>
          <a:p>
            <a:pPr marL="285750" indent="-285750" algn="just" defTabSz="926382"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  <a:defRPr/>
            </a:pPr>
            <a:r>
              <a:rPr lang="ru-RU" sz="1400" kern="0" dirty="0">
                <a:solidFill>
                  <a:srgbClr val="000000"/>
                </a:solidFill>
                <a:sym typeface="Calibri"/>
              </a:rPr>
              <a:t>Прокат оборудования (УЭЦН</a:t>
            </a:r>
            <a:r>
              <a:rPr lang="ru-RU" sz="1400" kern="0" dirty="0" smtClean="0">
                <a:solidFill>
                  <a:srgbClr val="000000"/>
                </a:solidFill>
                <a:sym typeface="Calibri"/>
              </a:rPr>
              <a:t>, УШГН</a:t>
            </a:r>
            <a:r>
              <a:rPr lang="ru-RU" sz="1400" kern="0" dirty="0">
                <a:solidFill>
                  <a:srgbClr val="000000"/>
                </a:solidFill>
                <a:sym typeface="Calibri"/>
              </a:rPr>
              <a:t>, НКТ</a:t>
            </a:r>
            <a:r>
              <a:rPr lang="ru-RU" sz="1400" kern="0" dirty="0" smtClean="0">
                <a:solidFill>
                  <a:srgbClr val="000000"/>
                </a:solidFill>
                <a:sym typeface="Calibri"/>
              </a:rPr>
              <a:t>, включая </a:t>
            </a:r>
            <a:r>
              <a:rPr lang="ru-RU" sz="1400" kern="0" dirty="0">
                <a:solidFill>
                  <a:srgbClr val="000000"/>
                </a:solidFill>
                <a:sym typeface="Calibri"/>
              </a:rPr>
              <a:t>СО и ремонт)</a:t>
            </a:r>
          </a:p>
          <a:p>
            <a:pPr marL="285750" marR="0" lvl="0" indent="-285750" algn="just" defTabSz="926382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Монтаж/демонтаж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вывод на режим оборудования</a:t>
            </a:r>
          </a:p>
          <a:p>
            <a:pPr marL="285750" marR="0" lvl="0" indent="-285750" algn="just" defTabSz="926382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Ремонт, комплектование НКТ</a:t>
            </a:r>
          </a:p>
          <a:p>
            <a:pPr marL="285750" marR="0" lvl="0" indent="-285750" algn="just" defTabSz="926382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Изготовление (нарезка) НКТ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28930" y="2264604"/>
            <a:ext cx="2246002" cy="331375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just" defTabSz="912949"/>
            <a:r>
              <a:rPr lang="ru-RU" sz="1500" b="1" dirty="0" smtClean="0">
                <a:solidFill>
                  <a:srgbClr val="3AA08F"/>
                </a:solidFill>
                <a:cs typeface="Arial" pitchFamily="34" charset="0"/>
              </a:rPr>
              <a:t>УСЛУГИ</a:t>
            </a:r>
            <a:endParaRPr lang="ru-RU" sz="1300" b="1" dirty="0">
              <a:solidFill>
                <a:srgbClr val="3AA08F"/>
              </a:solidFill>
              <a:cs typeface="Arial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75420" y="5386078"/>
            <a:ext cx="3187104" cy="780712"/>
          </a:xfrm>
          <a:prstGeom prst="rect">
            <a:avLst/>
          </a:prstGeom>
        </p:spPr>
        <p:txBody>
          <a:bodyPr wrap="square" lIns="99551" tIns="49777" rIns="99551" bIns="49777">
            <a:spAutoFit/>
          </a:bodyPr>
          <a:lstStyle/>
          <a:p>
            <a:pPr marL="285750" marR="0" lvl="0" indent="-285750" defTabSz="926382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SO 9001</a:t>
            </a:r>
            <a:r>
              <a:rPr kumimoji="0" lang="ru-RU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2008</a:t>
            </a:r>
          </a:p>
          <a:p>
            <a:pPr marL="285750" marR="0" lvl="0" indent="-285750" defTabSz="926382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SO 14001</a:t>
            </a:r>
            <a:r>
              <a:rPr kumimoji="0" lang="ru-RU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</a:t>
            </a: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04</a:t>
            </a:r>
          </a:p>
          <a:p>
            <a:pPr marL="285750" marR="0" lvl="0" indent="-285750" defTabSz="926382" eaLnBrk="1" fontAlgn="auto" latinLnBrk="0" hangingPunct="1">
              <a:lnSpc>
                <a:spcPct val="100000"/>
              </a:lnSpc>
              <a:spcBef>
                <a:spcPct val="10000"/>
              </a:spcBef>
              <a:spcAft>
                <a:spcPct val="10000"/>
              </a:spcAft>
              <a:buClr>
                <a:srgbClr val="106A6A"/>
              </a:buClr>
              <a:buSzPct val="100000"/>
              <a:buFont typeface="Wingdings" panose="05000000000000000000" pitchFamily="2" charset="2"/>
              <a:buChar char="q"/>
              <a:tabLst/>
              <a:defRPr/>
            </a:pPr>
            <a:r>
              <a:rPr kumimoji="0" lang="en-US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HSAS 18001</a:t>
            </a:r>
            <a:r>
              <a:rPr kumimoji="0" lang="ru-RU" sz="13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:2007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28930" y="4888512"/>
            <a:ext cx="2246002" cy="339338"/>
          </a:xfrm>
          <a:prstGeom prst="rect">
            <a:avLst/>
          </a:prstGeom>
          <a:noFill/>
        </p:spPr>
        <p:txBody>
          <a:bodyPr wrap="square" lIns="99569" tIns="49785" rIns="99569" bIns="49785" rtlCol="0">
            <a:spAutoFit/>
          </a:bodyPr>
          <a:lstStyle/>
          <a:p>
            <a:pPr algn="just" defTabSz="912949"/>
            <a:r>
              <a:rPr lang="ru-RU" sz="1500" b="1" dirty="0" smtClean="0">
                <a:solidFill>
                  <a:srgbClr val="3AA08F"/>
                </a:solidFill>
                <a:cs typeface="Arial" pitchFamily="34" charset="0"/>
              </a:rPr>
              <a:t>СЕРТИФИКАТЫ</a:t>
            </a:r>
            <a:endParaRPr lang="ru-RU" sz="1300" b="1" dirty="0">
              <a:solidFill>
                <a:srgbClr val="3AA08F"/>
              </a:solidFill>
              <a:cs typeface="Arial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575420" y="5301406"/>
            <a:ext cx="3187104" cy="0"/>
          </a:xfrm>
          <a:prstGeom prst="line">
            <a:avLst/>
          </a:prstGeom>
          <a:noFill/>
          <a:ln w="19050" cap="flat" cmpd="sng" algn="ctr">
            <a:solidFill>
              <a:srgbClr val="7F7F7F">
                <a:lumMod val="50000"/>
                <a:lumOff val="50000"/>
              </a:srgbClr>
            </a:solidFill>
            <a:prstDash val="solid"/>
          </a:ln>
          <a:effectLst/>
        </p:spPr>
      </p:cxnSp>
      <p:cxnSp>
        <p:nvCxnSpPr>
          <p:cNvPr id="53" name="Прямая соединительная линия 52"/>
          <p:cNvCxnSpPr/>
          <p:nvPr/>
        </p:nvCxnSpPr>
        <p:spPr>
          <a:xfrm>
            <a:off x="552218" y="2664589"/>
            <a:ext cx="3199816" cy="0"/>
          </a:xfrm>
          <a:prstGeom prst="line">
            <a:avLst/>
          </a:prstGeom>
          <a:noFill/>
          <a:ln w="19050" cap="flat" cmpd="sng" algn="ctr">
            <a:solidFill>
              <a:srgbClr val="7F7F7F">
                <a:lumMod val="50000"/>
                <a:lumOff val="50000"/>
              </a:srgbClr>
            </a:solidFill>
            <a:prstDash val="solid"/>
          </a:ln>
          <a:effectLst/>
        </p:spPr>
      </p:cxnSp>
      <p:sp>
        <p:nvSpPr>
          <p:cNvPr id="55" name="TextBox 54"/>
          <p:cNvSpPr txBox="1"/>
          <p:nvPr/>
        </p:nvSpPr>
        <p:spPr>
          <a:xfrm>
            <a:off x="1853073" y="1372869"/>
            <a:ext cx="6987253" cy="885356"/>
          </a:xfrm>
          <a:prstGeom prst="rect">
            <a:avLst/>
          </a:prstGeom>
          <a:noFill/>
        </p:spPr>
        <p:txBody>
          <a:bodyPr wrap="square" lIns="99551" tIns="49777" rIns="99551" bIns="49777" rtlCol="0">
            <a:spAutoFit/>
          </a:bodyPr>
          <a:lstStyle/>
          <a:p>
            <a:pPr algn="ctr" defTabSz="912949"/>
            <a:r>
              <a:rPr lang="ru-RU" sz="1700" b="1" cap="all" dirty="0" smtClean="0">
                <a:solidFill>
                  <a:srgbClr val="3AA08F"/>
                </a:solidFill>
                <a:cs typeface="Arial" pitchFamily="34" charset="0"/>
              </a:rPr>
              <a:t>«РИМЕРА-СЕРВИС</a:t>
            </a:r>
            <a:r>
              <a:rPr lang="ru-RU" sz="1700" b="1" cap="all" dirty="0">
                <a:solidFill>
                  <a:srgbClr val="3AA08F"/>
                </a:solidFill>
                <a:cs typeface="Arial" pitchFamily="34" charset="0"/>
              </a:rPr>
              <a:t>» – СЕТЬ сервисных </a:t>
            </a:r>
            <a:r>
              <a:rPr lang="ru-RU" sz="1700" b="1" cap="all" dirty="0" smtClean="0">
                <a:solidFill>
                  <a:srgbClr val="3AA08F"/>
                </a:solidFill>
                <a:cs typeface="Arial" pitchFamily="34" charset="0"/>
              </a:rPr>
              <a:t>Предприятий ПО ОБСЛУЖИВАНИЮ ПОГРУЖНОГО </a:t>
            </a:r>
            <a:r>
              <a:rPr lang="ru-RU" sz="1700" b="1" cap="all" dirty="0">
                <a:solidFill>
                  <a:srgbClr val="3AA08F"/>
                </a:solidFill>
                <a:cs typeface="Arial" pitchFamily="34" charset="0"/>
              </a:rPr>
              <a:t>ОБОРУДОВАНИЯ, ПОДГОТОВКЕ И РЕМОНТУ </a:t>
            </a:r>
            <a:r>
              <a:rPr lang="ru-RU" sz="1700" b="1" cap="all" dirty="0" smtClean="0">
                <a:solidFill>
                  <a:srgbClr val="3AA08F"/>
                </a:solidFill>
                <a:cs typeface="Arial" pitchFamily="34" charset="0"/>
              </a:rPr>
              <a:t>НКТ</a:t>
            </a:r>
            <a:endParaRPr lang="ru-RU" sz="1700" b="1" cap="all" dirty="0">
              <a:solidFill>
                <a:srgbClr val="3AA08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00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хническая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Другая 1">
      <a:majorFont>
        <a:latin typeface="Franklin Gothic Medium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Шаблон презентации Римера_fin">
  <a:themeElements>
    <a:clrScheme name="Римера">
      <a:dk1>
        <a:srgbClr val="7F7F7F"/>
      </a:dk1>
      <a:lt1>
        <a:sysClr val="window" lastClr="FFFFFF"/>
      </a:lt1>
      <a:dk2>
        <a:srgbClr val="106A6A"/>
      </a:dk2>
      <a:lt2>
        <a:srgbClr val="FFFFFF"/>
      </a:lt2>
      <a:accent1>
        <a:srgbClr val="3AA08F"/>
      </a:accent1>
      <a:accent2>
        <a:srgbClr val="0070C0"/>
      </a:accent2>
      <a:accent3>
        <a:srgbClr val="FF5050"/>
      </a:accent3>
      <a:accent4>
        <a:srgbClr val="8064A2"/>
      </a:accent4>
      <a:accent5>
        <a:srgbClr val="4BACC6"/>
      </a:accent5>
      <a:accent6>
        <a:srgbClr val="1F497D"/>
      </a:accent6>
      <a:hlink>
        <a:srgbClr val="0000FF"/>
      </a:hlink>
      <a:folHlink>
        <a:srgbClr val="800080"/>
      </a:folHlink>
    </a:clrScheme>
    <a:fontScheme name="Римера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33</TotalTime>
  <Words>999</Words>
  <Application>Microsoft Office PowerPoint</Application>
  <PresentationFormat>Произвольный</PresentationFormat>
  <Paragraphs>242</Paragraphs>
  <Slides>17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0" baseType="lpstr">
      <vt:lpstr>Тема Office</vt:lpstr>
      <vt:lpstr>Шаблон презентации Римера_fi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ИЗВОДСТВЕННЫЕ ВОЗМОЖНОСТИ ООО «АЛНАС»</vt:lpstr>
      <vt:lpstr>Презентация PowerPoint</vt:lpstr>
      <vt:lpstr>ПРОИЗВОДСТВЕННЫЕ ВОЗМОЖНОСТИ ПАО «ИЖНЕФТЕМАШ»</vt:lpstr>
      <vt:lpstr>Презентация PowerPoint</vt:lpstr>
      <vt:lpstr>СЕРВИСНЫЕ ВОЗМОЖНОСТИ ООО «РИМЕРА-СЕРВИС»</vt:lpstr>
      <vt:lpstr>Презентация PowerPoint</vt:lpstr>
      <vt:lpstr>Презентация PowerPoint</vt:lpstr>
      <vt:lpstr>ИННОВАЦИОННЫЕ ПРОЕКТЫ ПРОЕКТ «БЕЛАЯ СКВАЖИНА»</vt:lpstr>
      <vt:lpstr> ОБУЧЕНИЕ И ФОРМИРОВАНИЕ  КАДРОВОГО РЕЗЕРВА </vt:lpstr>
      <vt:lpstr>НАШИ КЛЮЧЕВЫЕ КЛИЕНТЫ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Ежова Ольга Викторовна</dc:creator>
  <cp:lastModifiedBy>Верчинская Юна Михайловна</cp:lastModifiedBy>
  <cp:revision>893</cp:revision>
  <cp:lastPrinted>2016-05-30T13:19:06Z</cp:lastPrinted>
  <dcterms:modified xsi:type="dcterms:W3CDTF">2018-05-28T07:39:08Z</dcterms:modified>
</cp:coreProperties>
</file>